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</p:sldMasterIdLst>
  <p:notesMasterIdLst>
    <p:notesMasterId r:id="rId13"/>
  </p:notesMasterIdLst>
  <p:sldIdLst>
    <p:sldId id="269" r:id="rId2"/>
    <p:sldId id="258" r:id="rId3"/>
    <p:sldId id="287" r:id="rId4"/>
    <p:sldId id="280" r:id="rId5"/>
    <p:sldId id="288" r:id="rId6"/>
    <p:sldId id="260" r:id="rId7"/>
    <p:sldId id="289" r:id="rId8"/>
    <p:sldId id="278" r:id="rId9"/>
    <p:sldId id="291" r:id="rId10"/>
    <p:sldId id="297" r:id="rId11"/>
    <p:sldId id="293" r:id="rId12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877A90"/>
    <a:srgbClr val="E6CBDE"/>
    <a:srgbClr val="CDB5F4"/>
    <a:srgbClr val="BA9CB6"/>
    <a:srgbClr val="495B87"/>
    <a:srgbClr val="E9C4E4"/>
    <a:srgbClr val="7E869D"/>
    <a:srgbClr val="54668C"/>
    <a:srgbClr val="705E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C84A535-A9D3-462C-9CC0-40D5C107C06C}">
  <a:tblStyle styleId="{0C84A535-A9D3-462C-9CC0-40D5C107C06C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FFF1E8"/>
          </a:solidFill>
        </a:fill>
      </a:tcStyle>
    </a:wholeTbl>
    <a:band1H>
      <a:tcTxStyle/>
      <a:tcStyle>
        <a:tcBdr/>
        <a:fill>
          <a:solidFill>
            <a:srgbClr val="FFE2CD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FFE2CD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0782" autoAdjust="0"/>
  </p:normalViewPr>
  <p:slideViewPr>
    <p:cSldViewPr snapToGrid="0">
      <p:cViewPr>
        <p:scale>
          <a:sx n="60" d="100"/>
          <a:sy n="60" d="100"/>
        </p:scale>
        <p:origin x="852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98450" algn="r" rt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r" rt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r" rt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r" rt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r" rt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r" rt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r" rt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r" rt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r" rt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32188400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Shape 5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645770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Shape 94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95" name="Shape 95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 rtl="1">
              <a:buNone/>
            </a:pPr>
            <a:endParaRPr lang="en-US" sz="1100" b="0" i="0" u="none" strike="noStrike" kern="1200" cap="none" dirty="0">
              <a:solidFill>
                <a:schemeClr val="dk1"/>
              </a:solidFill>
              <a:effectLst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601220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Shape 94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95" name="Shape 95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 rtl="1">
              <a:buNone/>
            </a:pPr>
            <a:endParaRPr lang="en-US" sz="1100" b="1" i="0" u="none" strike="noStrike" kern="1200" cap="none" dirty="0">
              <a:solidFill>
                <a:schemeClr val="dk1"/>
              </a:solidFill>
              <a:effectLst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65787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 rtl="1">
              <a:buNone/>
            </a:pPr>
            <a:endParaRPr lang="en-US" sz="1100" b="1" i="0" u="none" strike="noStrike" kern="1200" cap="none" dirty="0">
              <a:solidFill>
                <a:schemeClr val="dk1"/>
              </a:solidFill>
              <a:effectLst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Shape 7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16382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tabLst/>
              <a:defRPr/>
            </a:pPr>
            <a:endParaRPr lang="en-US" sz="1100" b="0" i="0" u="none" strike="noStrike" kern="1200" cap="none" dirty="0" smtClean="0">
              <a:solidFill>
                <a:schemeClr val="dk1"/>
              </a:solidFill>
              <a:effectLst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Shape 7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978188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 rtl="1">
              <a:buNone/>
            </a:pPr>
            <a:endParaRPr lang="en-US" sz="1100" b="0" i="0" u="none" strike="noStrike" kern="1200" cap="none" dirty="0">
              <a:solidFill>
                <a:schemeClr val="dk1"/>
              </a:solidFill>
              <a:effectLst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" name="Shape 7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623724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>
              <a:buNone/>
            </a:pPr>
            <a:endParaRPr lang="he-IL" sz="1400" dirty="0" smtClean="0">
              <a:solidFill>
                <a:schemeClr val="dk1"/>
              </a:solidFill>
              <a:latin typeface="David"/>
              <a:ea typeface="David"/>
              <a:cs typeface="David"/>
              <a:sym typeface="David"/>
            </a:endParaRPr>
          </a:p>
        </p:txBody>
      </p:sp>
      <p:sp>
        <p:nvSpPr>
          <p:cNvPr id="70" name="Shape 7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982770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83" name="Shape 8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tabLst/>
              <a:defRPr/>
            </a:pPr>
            <a:endParaRPr lang="en-US" sz="1100" b="0" i="0" u="none" strike="noStrike" kern="1200" cap="none" dirty="0" smtClean="0">
              <a:solidFill>
                <a:schemeClr val="dk1"/>
              </a:solidFill>
              <a:effectLst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0935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83" name="Shape 8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 rtl="1">
              <a:buNone/>
            </a:pPr>
            <a:endParaRPr lang="he-IL" sz="1100" b="0" i="0" u="none" strike="noStrike" kern="1200" cap="none" dirty="0" smtClean="0">
              <a:solidFill>
                <a:schemeClr val="dk1"/>
              </a:solidFill>
              <a:effectLst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434511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Shape 6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9" name="Shape 6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marL="158750" indent="0" rtl="1">
              <a:buNone/>
            </a:pPr>
            <a:endParaRPr lang="en-US" sz="1100" b="0" i="0" u="none" strike="noStrike" kern="1200" cap="none" dirty="0">
              <a:solidFill>
                <a:schemeClr val="dk1"/>
              </a:solidFill>
              <a:effectLst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52366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Shape 94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95" name="Shape 95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8750" indent="0" rtl="1">
              <a:buNone/>
            </a:pPr>
            <a:endParaRPr lang="en-US" sz="1100" b="0" i="0" u="none" strike="noStrike" kern="1200" cap="none" dirty="0">
              <a:solidFill>
                <a:schemeClr val="dk1"/>
              </a:solidFill>
              <a:effectLst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7765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0"/>
              <a:buFont typeface="Arial"/>
              <a:buNone/>
              <a:defRPr sz="120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ctr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ctr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2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00"/>
              <a:buFont typeface="Arial"/>
              <a:buNone/>
              <a:defRPr sz="4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Arial"/>
              <a:buNone/>
              <a:defRPr sz="4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None/>
            </a:pPr>
            <a:fld id="{00000000-1234-1234-1234-123412341234}" type="slidenum">
              <a:rPr lang="en"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microsoft.com/office/2007/relationships/hdphoto" Target="../media/hdphoto5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4.png"/><Relationship Id="rId3" Type="http://schemas.openxmlformats.org/officeDocument/2006/relationships/tags" Target="../tags/tag3.xml"/><Relationship Id="rId7" Type="http://schemas.openxmlformats.org/officeDocument/2006/relationships/image" Target="../media/image20.png"/><Relationship Id="rId12" Type="http://schemas.microsoft.com/office/2007/relationships/hdphoto" Target="../media/hdphoto2.wdp"/><Relationship Id="rId2" Type="http://schemas.openxmlformats.org/officeDocument/2006/relationships/tags" Target="../tags/tag2.xml"/><Relationship Id="rId16" Type="http://schemas.microsoft.com/office/2007/relationships/hdphoto" Target="../media/hdphoto4.wdp"/><Relationship Id="rId1" Type="http://schemas.openxmlformats.org/officeDocument/2006/relationships/tags" Target="../tags/tag1.xml"/><Relationship Id="rId6" Type="http://schemas.openxmlformats.org/officeDocument/2006/relationships/image" Target="../media/image19.png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9.xml"/><Relationship Id="rId15" Type="http://schemas.openxmlformats.org/officeDocument/2006/relationships/image" Target="../media/image25.png"/><Relationship Id="rId10" Type="http://schemas.microsoft.com/office/2007/relationships/hdphoto" Target="../media/hdphoto1.wdp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2.png"/><Relationship Id="rId14" Type="http://schemas.microsoft.com/office/2007/relationships/hdphoto" Target="../media/hdphoto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מלבן 8"/>
          <p:cNvSpPr/>
          <p:nvPr/>
        </p:nvSpPr>
        <p:spPr>
          <a:xfrm rot="5400000" flipH="1">
            <a:off x="5156834" y="2493645"/>
            <a:ext cx="5143501" cy="156210"/>
          </a:xfrm>
          <a:prstGeom prst="rect">
            <a:avLst/>
          </a:prstGeom>
          <a:solidFill>
            <a:srgbClr val="532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723900" marR="723900" lvl="0" indent="-455613" algn="just" rtl="1">
              <a:buClr>
                <a:schemeClr val="dk1"/>
              </a:buClr>
              <a:buSzPts val="1100"/>
            </a:pPr>
            <a:endParaRPr lang="he-IL" sz="2400" b="1" dirty="0" smtClean="0">
              <a:solidFill>
                <a:srgbClr val="30124F"/>
              </a:solidFill>
              <a:latin typeface="David"/>
              <a:ea typeface="David"/>
              <a:cs typeface="David"/>
              <a:sym typeface="David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4003575"/>
            <a:ext cx="8927694" cy="503340"/>
          </a:xfrm>
          <a:prstGeom prst="rect">
            <a:avLst/>
          </a:prstGeom>
          <a:solidFill>
            <a:srgbClr val="E6CBDE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8" name="מלבן 7"/>
          <p:cNvSpPr/>
          <p:nvPr/>
        </p:nvSpPr>
        <p:spPr>
          <a:xfrm rot="5400000" flipH="1">
            <a:off x="5720714" y="2257424"/>
            <a:ext cx="5143501" cy="628650"/>
          </a:xfrm>
          <a:prstGeom prst="rect">
            <a:avLst/>
          </a:prstGeom>
          <a:solidFill>
            <a:srgbClr val="C57D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723900" marR="723900" lvl="0" indent="-455613" algn="just" rtl="1">
              <a:buClr>
                <a:schemeClr val="dk1"/>
              </a:buClr>
              <a:buSzPts val="1100"/>
            </a:pPr>
            <a:endParaRPr lang="he-IL" sz="2400" b="1" dirty="0" smtClean="0">
              <a:solidFill>
                <a:srgbClr val="30124F"/>
              </a:solidFill>
              <a:latin typeface="David"/>
              <a:ea typeface="David"/>
              <a:cs typeface="David"/>
              <a:sym typeface="David"/>
            </a:endParaRPr>
          </a:p>
        </p:txBody>
      </p:sp>
      <p:sp>
        <p:nvSpPr>
          <p:cNvPr id="54" name="Shape 54"/>
          <p:cNvSpPr txBox="1"/>
          <p:nvPr/>
        </p:nvSpPr>
        <p:spPr>
          <a:xfrm>
            <a:off x="142613" y="1715268"/>
            <a:ext cx="7290033" cy="1550671"/>
          </a:xfrm>
          <a:prstGeom prst="rect">
            <a:avLst/>
          </a:prstGeom>
          <a:solidFill>
            <a:srgbClr val="97899D">
              <a:alpha val="80000"/>
            </a:srgbClr>
          </a:solidFill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lvl="0" indent="0" rtl="1">
              <a:spcBef>
                <a:spcPts val="0"/>
              </a:spcBef>
              <a:buNone/>
            </a:pPr>
            <a:endParaRPr dirty="0"/>
          </a:p>
          <a:p>
            <a:pPr marL="0" lvl="0" indent="-69850" algn="ctr" rtl="1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Font typeface="Arial"/>
              <a:buNone/>
            </a:pPr>
            <a:r>
              <a:rPr lang="e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 Light" panose="020B0502040204020203" pitchFamily="34" charset="-122"/>
                <a:ea typeface="Microsoft YaHei UI Light" panose="020B0502040204020203" pitchFamily="34" charset="-122"/>
                <a:cs typeface="Comix No2 CLM" panose="02000603000000000000" pitchFamily="2" charset="-79"/>
              </a:rPr>
              <a:t>חוויית למידה בקורסים אקדמיים משולבי תקשוב </a:t>
            </a:r>
            <a:r>
              <a:rPr lang="en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 Light" panose="020B0502040204020203" pitchFamily="34" charset="-122"/>
                <a:ea typeface="Microsoft YaHei UI Light" panose="020B0502040204020203" pitchFamily="34" charset="-122"/>
                <a:cs typeface="Comix No2 CLM" panose="02000603000000000000" pitchFamily="2" charset="-79"/>
              </a:rPr>
              <a:t>חקר </a:t>
            </a:r>
            <a:r>
              <a:rPr lang="en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icrosoft YaHei UI Light" panose="020B0502040204020203" pitchFamily="34" charset="-122"/>
                <a:ea typeface="Microsoft YaHei UI Light" panose="020B0502040204020203" pitchFamily="34" charset="-122"/>
                <a:cs typeface="Comix No2 CLM" panose="02000603000000000000" pitchFamily="2" charset="-79"/>
              </a:rPr>
              <a:t>מקרה </a:t>
            </a:r>
            <a:endParaRPr lang="en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 Light" panose="020B0502040204020203" pitchFamily="34" charset="-122"/>
              <a:ea typeface="Microsoft YaHei UI Light" panose="020B0502040204020203" pitchFamily="34" charset="-122"/>
              <a:cs typeface="Comix No2 CLM" panose="02000603000000000000" pitchFamily="2" charset="-79"/>
            </a:endParaRPr>
          </a:p>
          <a:p>
            <a:pPr marL="0" lvl="0" indent="0" rtl="1">
              <a:spcBef>
                <a:spcPts val="0"/>
              </a:spcBef>
              <a:buNone/>
            </a:pPr>
            <a:endParaRPr dirty="0">
              <a:solidFill>
                <a:srgbClr val="002060"/>
              </a:solidFill>
            </a:endParaRPr>
          </a:p>
          <a:p>
            <a:pPr algn="ctr" rtl="1">
              <a:lnSpc>
                <a:spcPct val="115000"/>
              </a:lnSpc>
            </a:pPr>
            <a:endParaRPr lang="en" sz="1200" dirty="0">
              <a:solidFill>
                <a:srgbClr val="30124F"/>
              </a:solidFill>
              <a:latin typeface="Comix No2 CLM" panose="02000603000000000000" pitchFamily="2" charset="-79"/>
              <a:cs typeface="Comix No2 CLM" panose="02000603000000000000" pitchFamily="2" charset="-79"/>
            </a:endParaRPr>
          </a:p>
          <a:p>
            <a:pPr algn="ctr" rtl="1">
              <a:lnSpc>
                <a:spcPct val="115000"/>
              </a:lnSpc>
            </a:pPr>
            <a:endParaRPr lang="en" sz="1200" dirty="0"/>
          </a:p>
          <a:p>
            <a:pPr algn="ctr" rtl="1">
              <a:lnSpc>
                <a:spcPct val="115000"/>
              </a:lnSpc>
            </a:pPr>
            <a:endParaRPr lang="en" sz="1200" dirty="0"/>
          </a:p>
          <a:p>
            <a:pPr marL="0" lvl="0" indent="0" algn="ctr" rtl="1">
              <a:lnSpc>
                <a:spcPct val="115000"/>
              </a:lnSpc>
              <a:spcBef>
                <a:spcPts val="0"/>
              </a:spcBef>
              <a:buNone/>
            </a:pPr>
            <a:r>
              <a:rPr lang="en" sz="1200" dirty="0" smtClean="0"/>
              <a:t> </a:t>
            </a:r>
            <a:endParaRPr lang="en" sz="1200" dirty="0"/>
          </a:p>
          <a:p>
            <a:pPr marL="0" lvl="0" indent="0" rtl="1">
              <a:spcBef>
                <a:spcPts val="0"/>
              </a:spcBef>
              <a:buNone/>
            </a:pPr>
            <a:endParaRPr dirty="0"/>
          </a:p>
        </p:txBody>
      </p:sp>
      <p:pic>
        <p:nvPicPr>
          <p:cNvPr id="55" name="Shape 5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503171" y="194362"/>
            <a:ext cx="3117474" cy="80004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מלבן 1"/>
          <p:cNvSpPr/>
          <p:nvPr/>
        </p:nvSpPr>
        <p:spPr>
          <a:xfrm>
            <a:off x="-226665" y="3975002"/>
            <a:ext cx="8246378" cy="5254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>
              <a:lnSpc>
                <a:spcPct val="115000"/>
              </a:lnSpc>
            </a:pPr>
            <a:r>
              <a:rPr lang="en" sz="2600" b="1" dirty="0" smtClean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לימור ריסקין    יעל באט    </a:t>
            </a:r>
            <a:r>
              <a:rPr lang="he-IL" sz="2600" b="1" dirty="0" smtClean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פרופ' </a:t>
            </a:r>
            <a:r>
              <a:rPr lang="en" sz="2600" b="1" dirty="0" smtClean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גילה קורץ    </a:t>
            </a:r>
            <a:r>
              <a:rPr lang="he-IL" sz="2600" b="1" dirty="0" smtClean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ד"ר </a:t>
            </a:r>
            <a:r>
              <a:rPr lang="en" sz="2600" b="1" dirty="0" smtClean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גילה לוי עצמון</a:t>
            </a:r>
            <a:endParaRPr lang="en" sz="26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תמונה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149207"/>
            <a:ext cx="9144000" cy="5292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581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×ª××× × ×§×©××¨×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7665244" cy="4950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0943" y="3600649"/>
            <a:ext cx="7655755" cy="1661993"/>
          </a:xfrm>
          <a:prstGeom prst="rect">
            <a:avLst/>
          </a:prstGeom>
          <a:solidFill>
            <a:srgbClr val="0D0403"/>
          </a:solidFill>
        </p:spPr>
        <p:txBody>
          <a:bodyPr wrap="square" rtlCol="1">
            <a:spAutoFit/>
          </a:bodyPr>
          <a:lstStyle/>
          <a:p>
            <a:pPr marL="723900" marR="723900" lvl="0" indent="-455613" algn="ctr" rtl="1">
              <a:buClr>
                <a:schemeClr val="dk1"/>
              </a:buClr>
              <a:buSzPts val="1100"/>
            </a:pPr>
            <a:endParaRPr lang="he-IL" b="1" dirty="0" smtClean="0">
              <a:ln>
                <a:solidFill>
                  <a:srgbClr val="97899D"/>
                </a:solidFill>
              </a:ln>
              <a:solidFill>
                <a:srgbClr val="F0B23D"/>
              </a:solidFill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23900" marR="723900" lvl="0" indent="-455613" algn="ctr" rtl="1">
              <a:buClr>
                <a:schemeClr val="dk1"/>
              </a:buClr>
              <a:buSzPts val="1100"/>
            </a:pPr>
            <a:r>
              <a:rPr lang="he-IL" sz="4000" b="1" dirty="0" smtClean="0">
                <a:ln>
                  <a:solidFill>
                    <a:srgbClr val="97899D"/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innerShdw blurRad="63500" dist="50800" dir="5400000">
                    <a:prstClr val="black">
                      <a:alpha val="50000"/>
                    </a:prstClr>
                  </a:inn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ינוי אינו אירוע </a:t>
            </a:r>
            <a:r>
              <a:rPr lang="he-IL" sz="4000" b="1" dirty="0">
                <a:ln>
                  <a:solidFill>
                    <a:srgbClr val="97899D"/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innerShdw blurRad="63500" dist="50800" dir="5400000">
                    <a:prstClr val="black">
                      <a:alpha val="50000"/>
                    </a:prstClr>
                  </a:inn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חד פעמי!</a:t>
            </a:r>
          </a:p>
          <a:p>
            <a:pPr marL="723900" marR="723900" lvl="0" indent="-455613" algn="ctr" rtl="1">
              <a:buClr>
                <a:schemeClr val="dk1"/>
              </a:buClr>
              <a:buSzPts val="1100"/>
            </a:pPr>
            <a:r>
              <a:rPr lang="he-IL" sz="3600" b="1" dirty="0" smtClean="0">
                <a:ln>
                  <a:solidFill>
                    <a:srgbClr val="97899D"/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innerShdw blurRad="63500" dist="50800" dir="5400000">
                    <a:prstClr val="black">
                      <a:alpha val="50000"/>
                    </a:prstClr>
                  </a:inn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צריך </a:t>
            </a:r>
            <a:r>
              <a:rPr lang="he-IL" sz="3600" b="1" dirty="0">
                <a:ln>
                  <a:solidFill>
                    <a:srgbClr val="97899D"/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innerShdw blurRad="63500" dist="50800" dir="5400000">
                    <a:prstClr val="black">
                      <a:alpha val="50000"/>
                    </a:prstClr>
                  </a:inn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זמן ואורך-רוח </a:t>
            </a:r>
            <a:r>
              <a:rPr lang="he-IL" sz="3600" b="1" dirty="0" smtClean="0">
                <a:ln>
                  <a:solidFill>
                    <a:srgbClr val="97899D"/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innerShdw blurRad="63500" dist="50800" dir="5400000">
                    <a:prstClr val="black">
                      <a:alpha val="50000"/>
                    </a:prstClr>
                  </a:inn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על מנת </a:t>
            </a:r>
            <a:r>
              <a:rPr lang="he-IL" sz="3600" b="1" dirty="0">
                <a:ln>
                  <a:solidFill>
                    <a:srgbClr val="97899D"/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innerShdw blurRad="63500" dist="50800" dir="5400000">
                    <a:prstClr val="black">
                      <a:alpha val="50000"/>
                    </a:prstClr>
                  </a:inn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לחולל </a:t>
            </a:r>
            <a:r>
              <a:rPr lang="he-IL" sz="3600" b="1" dirty="0" smtClean="0">
                <a:ln>
                  <a:solidFill>
                    <a:srgbClr val="97899D"/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innerShdw blurRad="63500" dist="50800" dir="5400000">
                    <a:prstClr val="black">
                      <a:alpha val="50000"/>
                    </a:prstClr>
                  </a:inn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ינוי</a:t>
            </a:r>
          </a:p>
          <a:p>
            <a:pPr marL="723900" marR="723900" lvl="0" indent="-455613" algn="ctr" rtl="1">
              <a:buClr>
                <a:schemeClr val="dk1"/>
              </a:buClr>
              <a:buSzPts val="1100"/>
            </a:pPr>
            <a:endParaRPr lang="he-IL" sz="1200" dirty="0">
              <a:solidFill>
                <a:srgbClr val="F0B23D"/>
              </a:solidFill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4" name="מלבן 23"/>
          <p:cNvSpPr/>
          <p:nvPr/>
        </p:nvSpPr>
        <p:spPr>
          <a:xfrm>
            <a:off x="7325571" y="279585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מלבן 24"/>
          <p:cNvSpPr/>
          <p:nvPr/>
        </p:nvSpPr>
        <p:spPr>
          <a:xfrm>
            <a:off x="7633782" y="-16848"/>
            <a:ext cx="1535006" cy="5172196"/>
          </a:xfrm>
          <a:prstGeom prst="rect">
            <a:avLst/>
          </a:prstGeom>
          <a:solidFill>
            <a:srgbClr val="ACA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536575" algn="r" rtl="1"/>
            <a:endParaRPr lang="he-IL" sz="1600" dirty="0">
              <a:solidFill>
                <a:srgbClr val="30124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icrosoft YaHei UI Light" panose="020B0502040204020203" pitchFamily="34" charset="-122"/>
              <a:cs typeface="Calibri" panose="020F0502020204030204" pitchFamily="34" charset="0"/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7633781" y="4273944"/>
            <a:ext cx="1496071" cy="833120"/>
          </a:xfrm>
          <a:prstGeom prst="rect">
            <a:avLst/>
          </a:prstGeom>
          <a:solidFill>
            <a:srgbClr val="E6CBDE"/>
          </a:solidFill>
          <a:ln w="76200">
            <a:solidFill>
              <a:srgbClr val="57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7" name="מלבן 26"/>
          <p:cNvSpPr/>
          <p:nvPr/>
        </p:nvSpPr>
        <p:spPr>
          <a:xfrm>
            <a:off x="7456666" y="933788"/>
            <a:ext cx="177691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טרת </a:t>
            </a:r>
          </a:p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 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מלבן 27"/>
          <p:cNvSpPr/>
          <p:nvPr/>
        </p:nvSpPr>
        <p:spPr>
          <a:xfrm>
            <a:off x="7440240" y="286942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מלבן 28"/>
          <p:cNvSpPr/>
          <p:nvPr/>
        </p:nvSpPr>
        <p:spPr>
          <a:xfrm>
            <a:off x="7892559" y="3588355"/>
            <a:ext cx="102303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סקנות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מלבן 29"/>
          <p:cNvSpPr/>
          <p:nvPr/>
        </p:nvSpPr>
        <p:spPr>
          <a:xfrm>
            <a:off x="7892559" y="4460377"/>
            <a:ext cx="10214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לצות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מלבן 30"/>
          <p:cNvSpPr/>
          <p:nvPr/>
        </p:nvSpPr>
        <p:spPr>
          <a:xfrm>
            <a:off x="7874572" y="1820935"/>
            <a:ext cx="96212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יטת </a:t>
            </a:r>
            <a:endParaRPr lang="he-IL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מלבן 31"/>
          <p:cNvSpPr/>
          <p:nvPr/>
        </p:nvSpPr>
        <p:spPr>
          <a:xfrm>
            <a:off x="7258780" y="28534"/>
            <a:ext cx="22166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קירת </a:t>
            </a: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פרות</a:t>
            </a:r>
            <a:endParaRPr lang="he-IL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מלבן 3"/>
          <p:cNvSpPr/>
          <p:nvPr/>
        </p:nvSpPr>
        <p:spPr>
          <a:xfrm>
            <a:off x="20943" y="-7976"/>
            <a:ext cx="7676698" cy="3596331"/>
          </a:xfrm>
          <a:prstGeom prst="rect">
            <a:avLst/>
          </a:prstGeom>
          <a:solidFill>
            <a:srgbClr val="FFFFFF">
              <a:alpha val="2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pic>
        <p:nvPicPr>
          <p:cNvPr id="3" name="תמונה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16958" y="-54417"/>
            <a:ext cx="9350538" cy="516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83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Shape 99"/>
          <p:cNvSpPr/>
          <p:nvPr/>
        </p:nvSpPr>
        <p:spPr>
          <a:xfrm flipH="1">
            <a:off x="8043" y="3863522"/>
            <a:ext cx="9135957" cy="1279978"/>
          </a:xfrm>
          <a:prstGeom prst="rect">
            <a:avLst/>
          </a:prstGeom>
          <a:solidFill>
            <a:srgbClr val="495B8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723900" marR="723900" lvl="0" indent="-455613" algn="just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2900" b="1" i="1" dirty="0">
              <a:ln>
                <a:solidFill>
                  <a:srgbClr val="97899D"/>
                </a:solidFill>
              </a:ln>
              <a:solidFill>
                <a:schemeClr val="bg1"/>
              </a:solidFill>
              <a:effectLst>
                <a:outerShdw blurRad="38100" dist="38100" dir="8760000" algn="tl">
                  <a:srgbClr val="000000">
                    <a:alpha val="97000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מלבן 4"/>
          <p:cNvSpPr/>
          <p:nvPr/>
        </p:nvSpPr>
        <p:spPr>
          <a:xfrm>
            <a:off x="343423" y="0"/>
            <a:ext cx="846519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he-IL" sz="4000" b="1" dirty="0">
                <a:solidFill>
                  <a:srgbClr val="495B8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וזמנות/ים להוסיף </a:t>
            </a:r>
            <a:r>
              <a:rPr lang="he-IL" sz="4000" b="1" dirty="0" smtClean="0">
                <a:solidFill>
                  <a:srgbClr val="495B8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לצות</a:t>
            </a:r>
          </a:p>
          <a:p>
            <a:pPr algn="ctr" rtl="1"/>
            <a:r>
              <a:rPr lang="en-US" sz="4000" b="1" dirty="0" smtClean="0">
                <a:solidFill>
                  <a:srgbClr val="495B8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להעצמת </a:t>
            </a:r>
            <a:r>
              <a:rPr lang="en-US" sz="4000" b="1" dirty="0">
                <a:solidFill>
                  <a:srgbClr val="495B8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חווית</a:t>
            </a:r>
            <a:r>
              <a:rPr lang="he-IL" sz="4000" b="1" dirty="0">
                <a:solidFill>
                  <a:srgbClr val="495B8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000" b="1" dirty="0">
                <a:solidFill>
                  <a:srgbClr val="495B8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למידה</a:t>
            </a:r>
            <a:r>
              <a:rPr lang="he-IL" sz="4000" b="1" dirty="0">
                <a:solidFill>
                  <a:srgbClr val="495B8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000" b="1" dirty="0">
                <a:solidFill>
                  <a:srgbClr val="495B8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ל סטודנטים </a:t>
            </a:r>
            <a:endParaRPr lang="en-US" sz="4000" b="1" dirty="0" smtClean="0">
              <a:solidFill>
                <a:srgbClr val="495B87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rtl="1"/>
            <a:r>
              <a:rPr lang="en-US" sz="4000" b="1" dirty="0" smtClean="0">
                <a:solidFill>
                  <a:srgbClr val="495B8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במודל </a:t>
            </a:r>
            <a:r>
              <a:rPr lang="en-US" sz="4000" b="1" dirty="0">
                <a:solidFill>
                  <a:srgbClr val="495B8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למידה המשולבת</a:t>
            </a:r>
          </a:p>
        </p:txBody>
      </p:sp>
      <p:sp>
        <p:nvSpPr>
          <p:cNvPr id="2" name="מלבן 1"/>
          <p:cNvSpPr/>
          <p:nvPr/>
        </p:nvSpPr>
        <p:spPr>
          <a:xfrm>
            <a:off x="3294796" y="2140805"/>
            <a:ext cx="2562447" cy="2573079"/>
          </a:xfrm>
          <a:prstGeom prst="rect">
            <a:avLst/>
          </a:prstGeom>
          <a:solidFill>
            <a:srgbClr val="E6CB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pic>
        <p:nvPicPr>
          <p:cNvPr id="13" name="תמונה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2618" y="2274364"/>
            <a:ext cx="2266801" cy="2305959"/>
          </a:xfrm>
          <a:prstGeom prst="rect">
            <a:avLst/>
          </a:prstGeom>
        </p:spPr>
      </p:pic>
      <p:sp>
        <p:nvSpPr>
          <p:cNvPr id="3" name="מלבן 2"/>
          <p:cNvSpPr/>
          <p:nvPr/>
        </p:nvSpPr>
        <p:spPr>
          <a:xfrm>
            <a:off x="-411001" y="4257445"/>
            <a:ext cx="37382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723900" marR="723900" lvl="0" indent="-455613" algn="ctr" rtl="1">
              <a:buClr>
                <a:schemeClr val="dk1"/>
              </a:buClr>
              <a:buSzPts val="1100"/>
            </a:pPr>
            <a:r>
              <a:rPr lang="he-IL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תודה על ההקשבה!</a:t>
            </a:r>
          </a:p>
        </p:txBody>
      </p:sp>
      <p:pic>
        <p:nvPicPr>
          <p:cNvPr id="4" name="תמונה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38544"/>
            <a:ext cx="9144000" cy="518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599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קבוצה 10"/>
          <p:cNvGrpSpPr/>
          <p:nvPr/>
        </p:nvGrpSpPr>
        <p:grpSpPr>
          <a:xfrm>
            <a:off x="676292" y="1444785"/>
            <a:ext cx="6199994" cy="3681527"/>
            <a:chOff x="181640" y="3544477"/>
            <a:chExt cx="3493245" cy="1792650"/>
          </a:xfrm>
          <a:effectLst/>
        </p:grpSpPr>
        <p:sp>
          <p:nvSpPr>
            <p:cNvPr id="3" name="מלבן מעוגל 2"/>
            <p:cNvSpPr/>
            <p:nvPr/>
          </p:nvSpPr>
          <p:spPr>
            <a:xfrm>
              <a:off x="181640" y="3544477"/>
              <a:ext cx="3493245" cy="1492471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97899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>
                <a:solidFill>
                  <a:srgbClr val="97899D"/>
                </a:solidFill>
              </a:endParaRPr>
            </a:p>
          </p:txBody>
        </p:sp>
        <p:pic>
          <p:nvPicPr>
            <p:cNvPr id="7" name="Shape 67" descr="תוצאת תמונה עבור ‪teacher board writing‬‏"/>
            <p:cNvPicPr preferRelativeResize="0"/>
            <p:nvPr/>
          </p:nvPicPr>
          <p:blipFill rotWithShape="1">
            <a:blip r:embed="rId3">
              <a:alphaModFix/>
            </a:blip>
            <a:srcRect l="38353" t="17682" b="8314"/>
            <a:stretch/>
          </p:blipFill>
          <p:spPr>
            <a:xfrm>
              <a:off x="2259904" y="3780965"/>
              <a:ext cx="1293549" cy="1158599"/>
            </a:xfrm>
            <a:prstGeom prst="ellipse">
              <a:avLst/>
            </a:prstGeom>
            <a:noFill/>
            <a:ln w="38100" cap="rnd" cmpd="sng">
              <a:solidFill>
                <a:srgbClr val="97899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pic>
        <p:sp>
          <p:nvSpPr>
            <p:cNvPr id="6" name="Shape 66"/>
            <p:cNvSpPr txBox="1"/>
            <p:nvPr/>
          </p:nvSpPr>
          <p:spPr>
            <a:xfrm>
              <a:off x="1717907" y="3994284"/>
              <a:ext cx="512063" cy="13428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060"/>
                </a:buClr>
                <a:buSzPts val="11500"/>
                <a:buFont typeface="Arial"/>
                <a:buNone/>
              </a:pPr>
              <a:r>
                <a:rPr lang="en" sz="8000" b="1" i="0" u="none" strike="noStrike" cap="none" dirty="0">
                  <a:solidFill>
                    <a:srgbClr val="97899D"/>
                  </a:solidFill>
                  <a:latin typeface="Arial"/>
                  <a:ea typeface="Arial"/>
                  <a:cs typeface="Arial"/>
                  <a:sym typeface="Arial"/>
                </a:rPr>
                <a:t>+</a:t>
              </a:r>
              <a:endParaRPr sz="8000" b="1" i="0" u="none" strike="noStrike" cap="none" dirty="0">
                <a:solidFill>
                  <a:srgbClr val="97899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5" name="Shape 63" descr="http://www.attengo.co.il/wp-content/uploads/2012/11/boycomp_sedit.jpg"/>
            <p:cNvPicPr preferRelativeResize="0"/>
            <p:nvPr/>
          </p:nvPicPr>
          <p:blipFill rotWithShape="1">
            <a:blip r:embed="rId4">
              <a:alphaModFix/>
            </a:blip>
            <a:srcRect l="12393" r="8974"/>
            <a:stretch/>
          </p:blipFill>
          <p:spPr>
            <a:xfrm>
              <a:off x="334152" y="3785585"/>
              <a:ext cx="1287448" cy="1153979"/>
            </a:xfrm>
            <a:prstGeom prst="ellipse">
              <a:avLst/>
            </a:prstGeom>
            <a:noFill/>
            <a:ln w="38100" cap="flat" cmpd="sng">
              <a:solidFill>
                <a:srgbClr val="97899D"/>
              </a:solidFill>
              <a:prstDash val="solid"/>
              <a:round/>
              <a:headEnd type="none" w="med" len="med"/>
              <a:tailEnd type="none" w="med" len="med"/>
            </a:ln>
          </p:spPr>
        </p:pic>
      </p:grpSp>
      <p:sp>
        <p:nvSpPr>
          <p:cNvPr id="9" name="מלבן 8"/>
          <p:cNvSpPr/>
          <p:nvPr/>
        </p:nvSpPr>
        <p:spPr>
          <a:xfrm>
            <a:off x="7665681" y="-16848"/>
            <a:ext cx="1535006" cy="5172196"/>
          </a:xfrm>
          <a:prstGeom prst="rect">
            <a:avLst/>
          </a:prstGeom>
          <a:solidFill>
            <a:srgbClr val="ACA1B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536575" algn="r" rtl="1"/>
            <a:endParaRPr lang="he-IL" sz="1600" dirty="0">
              <a:solidFill>
                <a:srgbClr val="30124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icrosoft YaHei UI Light" panose="020B0502040204020203" pitchFamily="34" charset="-122"/>
              <a:cs typeface="Calibri" panose="020F0502020204030204" pitchFamily="34" charset="0"/>
            </a:endParaRPr>
          </a:p>
        </p:txBody>
      </p:sp>
      <p:sp>
        <p:nvSpPr>
          <p:cNvPr id="12" name="מלבן 11"/>
          <p:cNvSpPr/>
          <p:nvPr/>
        </p:nvSpPr>
        <p:spPr>
          <a:xfrm>
            <a:off x="7456666" y="933788"/>
            <a:ext cx="177691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טרת </a:t>
            </a: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 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מלבן 12"/>
          <p:cNvSpPr/>
          <p:nvPr/>
        </p:nvSpPr>
        <p:spPr>
          <a:xfrm>
            <a:off x="7633783" y="-16848"/>
            <a:ext cx="1510218" cy="883585"/>
          </a:xfrm>
          <a:prstGeom prst="rect">
            <a:avLst/>
          </a:prstGeom>
          <a:solidFill>
            <a:srgbClr val="E6CBDE"/>
          </a:solidFill>
          <a:ln w="57150">
            <a:solidFill>
              <a:srgbClr val="57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4" name="מלבן 13"/>
          <p:cNvSpPr/>
          <p:nvPr/>
        </p:nvSpPr>
        <p:spPr>
          <a:xfrm>
            <a:off x="7471770" y="286942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מלבן 14"/>
          <p:cNvSpPr/>
          <p:nvPr/>
        </p:nvSpPr>
        <p:spPr>
          <a:xfrm>
            <a:off x="7892559" y="3651415"/>
            <a:ext cx="102303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סקנות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מלבן 15"/>
          <p:cNvSpPr/>
          <p:nvPr/>
        </p:nvSpPr>
        <p:spPr>
          <a:xfrm>
            <a:off x="7892559" y="4491907"/>
            <a:ext cx="10214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לצות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מלבן 16"/>
          <p:cNvSpPr/>
          <p:nvPr/>
        </p:nvSpPr>
        <p:spPr>
          <a:xfrm>
            <a:off x="7874572" y="1820935"/>
            <a:ext cx="96212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יטת </a:t>
            </a:r>
            <a:endParaRPr lang="he-IL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מלבן 17"/>
          <p:cNvSpPr/>
          <p:nvPr/>
        </p:nvSpPr>
        <p:spPr>
          <a:xfrm>
            <a:off x="7633783" y="28534"/>
            <a:ext cx="151021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קירת </a:t>
            </a:r>
          </a:p>
          <a:p>
            <a:pPr algn="ctr"/>
            <a:r>
              <a:rPr lang="he-IL" sz="2200" b="1" dirty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פרות</a:t>
            </a:r>
          </a:p>
        </p:txBody>
      </p:sp>
      <p:sp>
        <p:nvSpPr>
          <p:cNvPr id="2" name="מלבן מעוגל 1"/>
          <p:cNvSpPr/>
          <p:nvPr/>
        </p:nvSpPr>
        <p:spPr>
          <a:xfrm>
            <a:off x="1787813" y="1034538"/>
            <a:ext cx="3886200" cy="610705"/>
          </a:xfrm>
          <a:prstGeom prst="roundRect">
            <a:avLst/>
          </a:prstGeom>
          <a:solidFill>
            <a:srgbClr val="9789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Blended Learning </a:t>
            </a:r>
          </a:p>
        </p:txBody>
      </p:sp>
      <p:pic>
        <p:nvPicPr>
          <p:cNvPr id="8" name="תמונה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85060" y="33097"/>
            <a:ext cx="9272629" cy="488969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 txBox="1">
            <a:spLocks noGrp="1"/>
          </p:cNvSpPr>
          <p:nvPr>
            <p:ph type="body" idx="1"/>
          </p:nvPr>
        </p:nvSpPr>
        <p:spPr>
          <a:xfrm>
            <a:off x="224741" y="2777037"/>
            <a:ext cx="7391874" cy="749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14300" indent="0" algn="ctr" rtl="1">
              <a:buNone/>
            </a:pPr>
            <a:r>
              <a:rPr lang="he-IL" sz="36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העריך את </a:t>
            </a:r>
            <a:r>
              <a:rPr lang="he-IL" sz="40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חווית הלמידה</a:t>
            </a:r>
            <a:r>
              <a:rPr lang="he-IL" sz="36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של</a:t>
            </a:r>
            <a:r>
              <a:rPr lang="he-IL" sz="40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סטודנטים </a:t>
            </a:r>
            <a:r>
              <a:rPr lang="he-IL" sz="36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לתואר </a:t>
            </a:r>
            <a:r>
              <a:rPr lang="en" sz="36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</a:t>
            </a:r>
            <a:r>
              <a:rPr lang="he-IL" sz="36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בחינוך בשני קורסים אקדמיים ב</a:t>
            </a:r>
            <a:r>
              <a:rPr lang="he-IL" sz="40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מודל הלמידה המשולבת</a:t>
            </a:r>
            <a:r>
              <a:rPr lang="he-IL" sz="36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3600" b="1" dirty="0" smtClean="0">
              <a:solidFill>
                <a:srgbClr val="5324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 rtl="1">
              <a:lnSpc>
                <a:spcPct val="100000"/>
              </a:lnSpc>
              <a:spcBef>
                <a:spcPts val="600"/>
              </a:spcBef>
              <a:buNone/>
            </a:pPr>
            <a:r>
              <a:rPr lang="he-IL" sz="32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           </a:t>
            </a:r>
            <a:endParaRPr lang="he-IL" sz="3200" b="1" dirty="0">
              <a:solidFill>
                <a:srgbClr val="5324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Shape 10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857376" y="171559"/>
            <a:ext cx="3076114" cy="280976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מלבן 14"/>
          <p:cNvSpPr/>
          <p:nvPr/>
        </p:nvSpPr>
        <p:spPr>
          <a:xfrm>
            <a:off x="7633782" y="-16848"/>
            <a:ext cx="1535006" cy="5172196"/>
          </a:xfrm>
          <a:prstGeom prst="rect">
            <a:avLst/>
          </a:prstGeom>
          <a:solidFill>
            <a:srgbClr val="ACA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536575" algn="r" rtl="1"/>
            <a:endParaRPr lang="he-IL" sz="1600" dirty="0">
              <a:solidFill>
                <a:srgbClr val="30124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icrosoft YaHei UI Light" panose="020B0502040204020203" pitchFamily="34" charset="-122"/>
              <a:cs typeface="Calibri" panose="020F0502020204030204" pitchFamily="34" charset="0"/>
            </a:endParaRPr>
          </a:p>
        </p:txBody>
      </p:sp>
      <p:sp>
        <p:nvSpPr>
          <p:cNvPr id="17" name="מלבן 16"/>
          <p:cNvSpPr/>
          <p:nvPr/>
        </p:nvSpPr>
        <p:spPr>
          <a:xfrm>
            <a:off x="7616615" y="941590"/>
            <a:ext cx="1527386" cy="833120"/>
          </a:xfrm>
          <a:prstGeom prst="rect">
            <a:avLst/>
          </a:prstGeom>
          <a:solidFill>
            <a:srgbClr val="E6CBDE"/>
          </a:solidFill>
          <a:ln w="57150">
            <a:solidFill>
              <a:srgbClr val="57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6" name="מלבן 15"/>
          <p:cNvSpPr/>
          <p:nvPr/>
        </p:nvSpPr>
        <p:spPr>
          <a:xfrm>
            <a:off x="7456666" y="933788"/>
            <a:ext cx="177691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טרת</a:t>
            </a:r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he-IL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he-IL" sz="2200" b="1" dirty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 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מלבן 17"/>
          <p:cNvSpPr/>
          <p:nvPr/>
        </p:nvSpPr>
        <p:spPr>
          <a:xfrm>
            <a:off x="7471770" y="286942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מלבן 18"/>
          <p:cNvSpPr/>
          <p:nvPr/>
        </p:nvSpPr>
        <p:spPr>
          <a:xfrm>
            <a:off x="7892559" y="3651415"/>
            <a:ext cx="102303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סקנות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7892559" y="4491907"/>
            <a:ext cx="10214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לצות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מלבן 20"/>
          <p:cNvSpPr/>
          <p:nvPr/>
        </p:nvSpPr>
        <p:spPr>
          <a:xfrm>
            <a:off x="7874572" y="1820935"/>
            <a:ext cx="96212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יטת </a:t>
            </a:r>
            <a:endParaRPr lang="he-IL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מלבן 35"/>
          <p:cNvSpPr/>
          <p:nvPr/>
        </p:nvSpPr>
        <p:spPr>
          <a:xfrm>
            <a:off x="7258780" y="28534"/>
            <a:ext cx="22166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קירת </a:t>
            </a: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פרות</a:t>
            </a:r>
            <a:endParaRPr lang="he-IL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תמונה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61" y="-16848"/>
            <a:ext cx="9083728" cy="4939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255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 txBox="1">
            <a:spLocks noGrp="1"/>
          </p:cNvSpPr>
          <p:nvPr>
            <p:ph type="body" idx="1"/>
          </p:nvPr>
        </p:nvSpPr>
        <p:spPr>
          <a:xfrm>
            <a:off x="-55755" y="120781"/>
            <a:ext cx="6686702" cy="749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r" rtl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None/>
            </a:pPr>
            <a:r>
              <a:rPr lang="en" sz="32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" sz="32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e-IL" sz="32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           </a:t>
            </a:r>
          </a:p>
        </p:txBody>
      </p:sp>
      <p:sp>
        <p:nvSpPr>
          <p:cNvPr id="9" name="מלבן 8"/>
          <p:cNvSpPr/>
          <p:nvPr/>
        </p:nvSpPr>
        <p:spPr>
          <a:xfrm>
            <a:off x="448927" y="3806181"/>
            <a:ext cx="62851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>
              <a:spcBef>
                <a:spcPts val="600"/>
              </a:spcBef>
            </a:pPr>
            <a:r>
              <a:rPr lang="he-IL" sz="36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במ</a:t>
            </a:r>
            <a:r>
              <a:rPr lang="he-IL" sz="3600" b="1" dirty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ת</a:t>
            </a:r>
            <a:r>
              <a:rPr lang="he-IL" sz="36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ודה איכותנית ב- </a:t>
            </a:r>
            <a:r>
              <a:rPr lang="he-IL" sz="3600" b="1" dirty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נקודות </a:t>
            </a:r>
            <a:r>
              <a:rPr lang="he-IL" sz="36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זמן</a:t>
            </a:r>
            <a:endParaRPr lang="he-IL" sz="3600" b="1" dirty="0">
              <a:solidFill>
                <a:srgbClr val="5324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Shape 133"/>
          <p:cNvPicPr preferRelativeResize="0"/>
          <p:nvPr/>
        </p:nvPicPr>
        <p:blipFill rotWithShape="1">
          <a:blip r:embed="rId3"/>
          <a:srcRect/>
          <a:stretch/>
        </p:blipFill>
        <p:spPr>
          <a:xfrm>
            <a:off x="792874" y="522377"/>
            <a:ext cx="5950826" cy="323999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7" name="מלבן 16"/>
          <p:cNvSpPr/>
          <p:nvPr/>
        </p:nvSpPr>
        <p:spPr>
          <a:xfrm>
            <a:off x="7633782" y="-16848"/>
            <a:ext cx="1535006" cy="5172196"/>
          </a:xfrm>
          <a:prstGeom prst="rect">
            <a:avLst/>
          </a:prstGeom>
          <a:solidFill>
            <a:srgbClr val="ACA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536575" algn="r" rtl="1"/>
            <a:endParaRPr lang="he-IL" sz="1600" dirty="0">
              <a:solidFill>
                <a:srgbClr val="30124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icrosoft YaHei UI Light" panose="020B0502040204020203" pitchFamily="34" charset="-122"/>
              <a:cs typeface="Calibri" panose="020F0502020204030204" pitchFamily="34" charset="0"/>
            </a:endParaRPr>
          </a:p>
        </p:txBody>
      </p:sp>
      <p:sp>
        <p:nvSpPr>
          <p:cNvPr id="18" name="מלבן 17"/>
          <p:cNvSpPr/>
          <p:nvPr/>
        </p:nvSpPr>
        <p:spPr>
          <a:xfrm>
            <a:off x="7633782" y="1820935"/>
            <a:ext cx="1510217" cy="833120"/>
          </a:xfrm>
          <a:prstGeom prst="rect">
            <a:avLst/>
          </a:prstGeom>
          <a:solidFill>
            <a:srgbClr val="E6CBDE"/>
          </a:solidFill>
          <a:ln w="57150">
            <a:solidFill>
              <a:srgbClr val="57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9" name="מלבן 18"/>
          <p:cNvSpPr/>
          <p:nvPr/>
        </p:nvSpPr>
        <p:spPr>
          <a:xfrm>
            <a:off x="7456666" y="933788"/>
            <a:ext cx="177691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טרת </a:t>
            </a:r>
          </a:p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 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7471770" y="286942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מלבן 20"/>
          <p:cNvSpPr/>
          <p:nvPr/>
        </p:nvSpPr>
        <p:spPr>
          <a:xfrm>
            <a:off x="7892559" y="3651415"/>
            <a:ext cx="102303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סקנות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מלבן 21"/>
          <p:cNvSpPr/>
          <p:nvPr/>
        </p:nvSpPr>
        <p:spPr>
          <a:xfrm>
            <a:off x="7892559" y="4491907"/>
            <a:ext cx="10214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לצות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מלבן 22"/>
          <p:cNvSpPr/>
          <p:nvPr/>
        </p:nvSpPr>
        <p:spPr>
          <a:xfrm>
            <a:off x="7874572" y="1820935"/>
            <a:ext cx="96212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יטת</a:t>
            </a:r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he-IL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he-IL" sz="2200" b="1" dirty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מלבן 23"/>
          <p:cNvSpPr/>
          <p:nvPr/>
        </p:nvSpPr>
        <p:spPr>
          <a:xfrm>
            <a:off x="7258780" y="28534"/>
            <a:ext cx="22166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קירת </a:t>
            </a: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פרות</a:t>
            </a:r>
            <a:endParaRPr lang="he-IL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תמונה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8533"/>
            <a:ext cx="9168788" cy="4894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089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מלבן 24"/>
          <p:cNvSpPr/>
          <p:nvPr/>
        </p:nvSpPr>
        <p:spPr>
          <a:xfrm>
            <a:off x="7325571" y="279585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מלבן 49"/>
          <p:cNvSpPr/>
          <p:nvPr/>
        </p:nvSpPr>
        <p:spPr>
          <a:xfrm>
            <a:off x="7633782" y="-16848"/>
            <a:ext cx="1535006" cy="5172196"/>
          </a:xfrm>
          <a:prstGeom prst="rect">
            <a:avLst/>
          </a:prstGeom>
          <a:solidFill>
            <a:srgbClr val="ACA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536575" algn="r" rtl="1"/>
            <a:endParaRPr lang="he-IL" sz="1600" dirty="0">
              <a:solidFill>
                <a:srgbClr val="30124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icrosoft YaHei UI Light" panose="020B0502040204020203" pitchFamily="34" charset="-122"/>
              <a:cs typeface="Calibri" panose="020F0502020204030204" pitchFamily="34" charset="0"/>
            </a:endParaRPr>
          </a:p>
        </p:txBody>
      </p:sp>
      <p:sp>
        <p:nvSpPr>
          <p:cNvPr id="51" name="מלבן 50"/>
          <p:cNvSpPr/>
          <p:nvPr/>
        </p:nvSpPr>
        <p:spPr>
          <a:xfrm>
            <a:off x="7633781" y="2728930"/>
            <a:ext cx="1504537" cy="833120"/>
          </a:xfrm>
          <a:prstGeom prst="rect">
            <a:avLst/>
          </a:prstGeom>
          <a:solidFill>
            <a:srgbClr val="E6CBDE"/>
          </a:solidFill>
          <a:ln w="57150">
            <a:solidFill>
              <a:srgbClr val="57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2" name="מלבן 51"/>
          <p:cNvSpPr/>
          <p:nvPr/>
        </p:nvSpPr>
        <p:spPr>
          <a:xfrm>
            <a:off x="7456666" y="933788"/>
            <a:ext cx="177691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טרת </a:t>
            </a:r>
          </a:p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 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מלבן 52"/>
          <p:cNvSpPr/>
          <p:nvPr/>
        </p:nvSpPr>
        <p:spPr>
          <a:xfrm>
            <a:off x="7440240" y="290095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מלבן 53"/>
          <p:cNvSpPr/>
          <p:nvPr/>
        </p:nvSpPr>
        <p:spPr>
          <a:xfrm>
            <a:off x="7892559" y="3651415"/>
            <a:ext cx="102303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סקנות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מלבן 54"/>
          <p:cNvSpPr/>
          <p:nvPr/>
        </p:nvSpPr>
        <p:spPr>
          <a:xfrm>
            <a:off x="7892559" y="4491907"/>
            <a:ext cx="10214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לצות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מלבן 55"/>
          <p:cNvSpPr/>
          <p:nvPr/>
        </p:nvSpPr>
        <p:spPr>
          <a:xfrm>
            <a:off x="7874572" y="1820935"/>
            <a:ext cx="96212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יטת </a:t>
            </a:r>
            <a:endParaRPr lang="he-IL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מלבן 56"/>
          <p:cNvSpPr/>
          <p:nvPr/>
        </p:nvSpPr>
        <p:spPr>
          <a:xfrm>
            <a:off x="7258780" y="28534"/>
            <a:ext cx="22166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קירת </a:t>
            </a: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פרות</a:t>
            </a:r>
            <a:endParaRPr lang="he-IL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" name="קבוצה 6"/>
          <p:cNvGrpSpPr/>
          <p:nvPr/>
        </p:nvGrpSpPr>
        <p:grpSpPr>
          <a:xfrm>
            <a:off x="226050" y="790110"/>
            <a:ext cx="6709195" cy="3867600"/>
            <a:chOff x="256331" y="744838"/>
            <a:chExt cx="6931350" cy="3867600"/>
          </a:xfrm>
        </p:grpSpPr>
        <p:sp>
          <p:nvSpPr>
            <p:cNvPr id="23" name="Shape 161"/>
            <p:cNvSpPr/>
            <p:nvPr/>
          </p:nvSpPr>
          <p:spPr>
            <a:xfrm>
              <a:off x="440012" y="744838"/>
              <a:ext cx="1654179" cy="3819407"/>
            </a:xfrm>
            <a:prstGeom prst="roundRect">
              <a:avLst>
                <a:gd name="adj" fmla="val 10000"/>
              </a:avLst>
            </a:prstGeom>
            <a:solidFill>
              <a:srgbClr val="ACA4B0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Shape 164"/>
            <p:cNvSpPr/>
            <p:nvPr/>
          </p:nvSpPr>
          <p:spPr>
            <a:xfrm>
              <a:off x="2143817" y="744838"/>
              <a:ext cx="1654179" cy="3819407"/>
            </a:xfrm>
            <a:prstGeom prst="roundRect">
              <a:avLst>
                <a:gd name="adj" fmla="val 10000"/>
              </a:avLst>
            </a:prstGeom>
            <a:solidFill>
              <a:srgbClr val="43537D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Shape 167"/>
            <p:cNvSpPr/>
            <p:nvPr/>
          </p:nvSpPr>
          <p:spPr>
            <a:xfrm>
              <a:off x="3838478" y="744838"/>
              <a:ext cx="1654179" cy="3819750"/>
            </a:xfrm>
            <a:prstGeom prst="roundRect">
              <a:avLst>
                <a:gd name="adj" fmla="val 10000"/>
              </a:avLst>
            </a:prstGeom>
            <a:solidFill>
              <a:srgbClr val="705E82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Shape 170"/>
            <p:cNvSpPr/>
            <p:nvPr/>
          </p:nvSpPr>
          <p:spPr>
            <a:xfrm>
              <a:off x="5533503" y="744838"/>
              <a:ext cx="1654178" cy="3811783"/>
            </a:xfrm>
            <a:prstGeom prst="roundRect">
              <a:avLst>
                <a:gd name="adj" fmla="val 10000"/>
              </a:avLst>
            </a:prstGeom>
            <a:solidFill>
              <a:srgbClr val="BA9CB6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אליפסה 8"/>
            <p:cNvSpPr txBox="1"/>
            <p:nvPr/>
          </p:nvSpPr>
          <p:spPr>
            <a:xfrm>
              <a:off x="5769428" y="3203350"/>
              <a:ext cx="1232903" cy="810586"/>
            </a:xfrm>
            <a:prstGeom prst="rect">
              <a:avLst/>
            </a:pr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7112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2400" b="1" kern="1200" dirty="0" smtClean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532476"/>
                    </a:outerShdw>
                  </a:effectLst>
                </a:rPr>
                <a:t>היבט שילוב </a:t>
              </a:r>
              <a:r>
                <a:rPr lang="he-IL" sz="2400" b="1" kern="1200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532476"/>
                    </a:outerShdw>
                  </a:effectLst>
                </a:rPr>
                <a:t>התקשוב</a:t>
              </a:r>
              <a:endParaRPr lang="en-US" sz="2400" b="1" kern="1200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532476"/>
                  </a:outerShdw>
                </a:effectLst>
              </a:endParaRPr>
            </a:p>
          </p:txBody>
        </p:sp>
        <p:sp>
          <p:nvSpPr>
            <p:cNvPr id="38" name="אליפסה 10"/>
            <p:cNvSpPr txBox="1"/>
            <p:nvPr/>
          </p:nvSpPr>
          <p:spPr>
            <a:xfrm>
              <a:off x="4053949" y="2487688"/>
              <a:ext cx="1236603" cy="1965057"/>
            </a:xfrm>
            <a:prstGeom prst="rect">
              <a:avLst/>
            </a:pr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7112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2400" b="1" kern="1200" dirty="0" smtClean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532476"/>
                    </a:outerShdw>
                  </a:effectLst>
                </a:rPr>
                <a:t>היבט הארגון</a:t>
              </a:r>
              <a:endParaRPr lang="en-US" sz="2400" b="1" kern="1200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532476"/>
                  </a:outerShdw>
                </a:effectLst>
              </a:endParaRPr>
            </a:p>
          </p:txBody>
        </p:sp>
        <p:sp>
          <p:nvSpPr>
            <p:cNvPr id="36" name="אליפסה 6"/>
            <p:cNvSpPr txBox="1"/>
            <p:nvPr/>
          </p:nvSpPr>
          <p:spPr>
            <a:xfrm>
              <a:off x="2381167" y="2647381"/>
              <a:ext cx="1189766" cy="1965057"/>
            </a:xfrm>
            <a:prstGeom prst="rect">
              <a:avLst/>
            </a:pr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7112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2400" b="1" kern="1200" dirty="0" smtClean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532476"/>
                    </a:outerShdw>
                  </a:effectLst>
                </a:rPr>
                <a:t>היבט סגל ההוראה</a:t>
              </a:r>
              <a:endParaRPr lang="en-US" sz="2400" b="1" kern="1200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532476"/>
                  </a:outerShdw>
                </a:effectLst>
              </a:endParaRPr>
            </a:p>
          </p:txBody>
        </p:sp>
        <p:sp>
          <p:nvSpPr>
            <p:cNvPr id="37" name="אליפסה 4"/>
            <p:cNvSpPr txBox="1"/>
            <p:nvPr/>
          </p:nvSpPr>
          <p:spPr>
            <a:xfrm>
              <a:off x="256331" y="3036425"/>
              <a:ext cx="2093449" cy="880929"/>
            </a:xfrm>
            <a:prstGeom prst="rect">
              <a:avLst/>
            </a:prstGeom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7112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e-IL" sz="2400" b="1" kern="1200" dirty="0" smtClean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532476"/>
                    </a:outerShdw>
                  </a:effectLst>
                </a:rPr>
                <a:t>היבט </a:t>
              </a:r>
              <a:r>
                <a:rPr lang="en-US" sz="2400" b="1" kern="1200" dirty="0" smtClean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532476"/>
                    </a:outerShdw>
                  </a:effectLst>
                </a:rPr>
                <a:t/>
              </a:r>
              <a:br>
                <a:rPr lang="en-US" sz="2400" b="1" kern="1200" dirty="0" smtClean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532476"/>
                    </a:outerShdw>
                  </a:effectLst>
                </a:rPr>
              </a:br>
              <a:r>
                <a:rPr lang="he-IL" sz="2400" b="1" kern="1200" dirty="0" smtClean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532476"/>
                    </a:outerShdw>
                  </a:effectLst>
                </a:rPr>
                <a:t>הלומד</a:t>
              </a:r>
              <a:endParaRPr lang="en-US" sz="2400" b="1" kern="1200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532476"/>
                  </a:outerShdw>
                </a:effectLst>
              </a:endParaRPr>
            </a:p>
          </p:txBody>
        </p:sp>
        <p:pic>
          <p:nvPicPr>
            <p:cNvPr id="12" name="תמונה 11"/>
            <p:cNvPicPr>
              <a:picLocks noChangeAspect="1"/>
            </p:cNvPicPr>
            <p:nvPr/>
          </p:nvPicPr>
          <p:blipFill>
            <a:blip r:embed="rId3">
              <a:biLevel thresh="50000"/>
            </a:blip>
            <a:stretch>
              <a:fillRect/>
            </a:stretch>
          </p:blipFill>
          <p:spPr>
            <a:xfrm>
              <a:off x="4026367" y="1171619"/>
              <a:ext cx="1261226" cy="1154660"/>
            </a:xfrm>
            <a:prstGeom prst="ellipse">
              <a:avLst/>
            </a:prstGeom>
            <a:ln w="38100">
              <a:solidFill>
                <a:srgbClr val="7F63A1"/>
              </a:solidFill>
            </a:ln>
          </p:spPr>
        </p:pic>
        <p:pic>
          <p:nvPicPr>
            <p:cNvPr id="13" name="תמונה 12"/>
            <p:cNvPicPr>
              <a:picLocks noChangeAspect="1"/>
            </p:cNvPicPr>
            <p:nvPr/>
          </p:nvPicPr>
          <p:blipFill>
            <a:blip r:embed="rId4">
              <a:biLevel thresh="50000"/>
            </a:blip>
            <a:stretch>
              <a:fillRect/>
            </a:stretch>
          </p:blipFill>
          <p:spPr>
            <a:xfrm>
              <a:off x="2372795" y="1159171"/>
              <a:ext cx="1214193" cy="1179556"/>
            </a:xfrm>
            <a:prstGeom prst="ellipse">
              <a:avLst/>
            </a:prstGeom>
            <a:ln w="38100">
              <a:solidFill>
                <a:srgbClr val="7F63A1"/>
              </a:solidFill>
            </a:ln>
          </p:spPr>
        </p:pic>
        <p:pic>
          <p:nvPicPr>
            <p:cNvPr id="14" name="תמונה 13"/>
            <p:cNvPicPr>
              <a:picLocks noChangeAspect="1"/>
            </p:cNvPicPr>
            <p:nvPr/>
          </p:nvPicPr>
          <p:blipFill>
            <a:blip r:embed="rId5">
              <a:biLevel thresh="50000"/>
            </a:blip>
            <a:stretch>
              <a:fillRect/>
            </a:stretch>
          </p:blipFill>
          <p:spPr>
            <a:xfrm>
              <a:off x="696003" y="1184067"/>
              <a:ext cx="1196242" cy="1154660"/>
            </a:xfrm>
            <a:prstGeom prst="ellipse">
              <a:avLst/>
            </a:prstGeom>
            <a:ln w="38100">
              <a:solidFill>
                <a:srgbClr val="7F63A1"/>
              </a:solidFill>
            </a:ln>
          </p:spPr>
        </p:pic>
      </p:grpSp>
      <p:pic>
        <p:nvPicPr>
          <p:cNvPr id="6" name="תמונה 5"/>
          <p:cNvPicPr>
            <a:picLocks noChangeAspect="1"/>
          </p:cNvPicPr>
          <p:nvPr/>
        </p:nvPicPr>
        <p:blipFill rotWithShape="1">
          <a:blip r:embed="rId6"/>
          <a:srcRect l="3430" t="4421" r="2870" b="4880"/>
          <a:stretch/>
        </p:blipFill>
        <p:spPr>
          <a:xfrm>
            <a:off x="5555421" y="1233767"/>
            <a:ext cx="1182885" cy="1122904"/>
          </a:xfrm>
          <a:prstGeom prst="ellipse">
            <a:avLst/>
          </a:prstGeom>
          <a:ln w="38100">
            <a:solidFill>
              <a:srgbClr val="7F63A1"/>
            </a:solidFill>
          </a:ln>
        </p:spPr>
      </p:pic>
      <p:pic>
        <p:nvPicPr>
          <p:cNvPr id="2" name="תמונה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028" y="28534"/>
            <a:ext cx="9122747" cy="4894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957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Shape 86"/>
          <p:cNvSpPr txBox="1"/>
          <p:nvPr/>
        </p:nvSpPr>
        <p:spPr>
          <a:xfrm>
            <a:off x="-1" y="-245835"/>
            <a:ext cx="8144541" cy="2359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124F"/>
              </a:buClr>
              <a:buSzPts val="2800"/>
              <a:buFont typeface="Arial"/>
              <a:buNone/>
            </a:pPr>
            <a:endParaRPr lang="he-IL" sz="1000" dirty="0" smtClean="0">
              <a:solidFill>
                <a:srgbClr val="30124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 Light" panose="020B0502040204020203" pitchFamily="34" charset="-122"/>
              <a:ea typeface="Microsoft YaHei UI Light" panose="020B0502040204020203" pitchFamily="34" charset="-122"/>
              <a:cs typeface="Comix No2 CLM" panose="02000603000000000000" pitchFamily="2" charset="-79"/>
            </a:endParaRPr>
          </a:p>
          <a:p>
            <a:pPr marL="534988" algn="ctr" rtl="1">
              <a:buClr>
                <a:srgbClr val="30124F"/>
              </a:buClr>
              <a:buSzPts val="2800"/>
            </a:pPr>
            <a:r>
              <a:rPr lang="en" sz="2800" b="1" dirty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  <a:sym typeface="David"/>
              </a:rPr>
              <a:t>יחסי הגומלין </a:t>
            </a:r>
            <a:r>
              <a:rPr lang="en" sz="28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  <a:sym typeface="David"/>
              </a:rPr>
              <a:t>והלימה בין </a:t>
            </a:r>
            <a:r>
              <a:rPr lang="en" sz="2800" b="1" dirty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  <a:sym typeface="David"/>
              </a:rPr>
              <a:t>ארבעת ההיבטים </a:t>
            </a:r>
            <a:endParaRPr lang="he-IL" sz="2800" b="1" dirty="0" smtClean="0">
              <a:solidFill>
                <a:srgbClr val="532476"/>
              </a:solidFill>
              <a:latin typeface="Calibri" panose="020F0502020204030204" pitchFamily="34" charset="0"/>
              <a:cs typeface="Calibri" panose="020F0502020204030204" pitchFamily="34" charset="0"/>
              <a:sym typeface="David"/>
            </a:endParaRPr>
          </a:p>
          <a:p>
            <a:pPr marL="534988" algn="ctr" rtl="1">
              <a:buClr>
                <a:srgbClr val="30124F"/>
              </a:buClr>
              <a:buSzPts val="2800"/>
            </a:pPr>
            <a:r>
              <a:rPr lang="en" sz="28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  <a:sym typeface="David"/>
              </a:rPr>
              <a:t>מזמנים</a:t>
            </a:r>
            <a:r>
              <a:rPr lang="he-IL" sz="28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  <a:sym typeface="David"/>
              </a:rPr>
              <a:t> </a:t>
            </a:r>
            <a:r>
              <a:rPr lang="en" sz="2800" b="1" dirty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  <a:sym typeface="David"/>
              </a:rPr>
              <a:t>חווית למידה מיטבית</a:t>
            </a:r>
            <a:endParaRPr sz="2800" b="1" dirty="0">
              <a:solidFill>
                <a:srgbClr val="5324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קבוצה 23"/>
          <p:cNvGrpSpPr/>
          <p:nvPr/>
        </p:nvGrpSpPr>
        <p:grpSpPr>
          <a:xfrm>
            <a:off x="1817624" y="832045"/>
            <a:ext cx="4113010" cy="4250331"/>
            <a:chOff x="813869" y="792756"/>
            <a:chExt cx="3266225" cy="3534809"/>
          </a:xfrm>
        </p:grpSpPr>
        <p:grpSp>
          <p:nvGrpSpPr>
            <p:cNvPr id="25" name="קבוצה 24"/>
            <p:cNvGrpSpPr/>
            <p:nvPr/>
          </p:nvGrpSpPr>
          <p:grpSpPr>
            <a:xfrm>
              <a:off x="813869" y="797067"/>
              <a:ext cx="3266225" cy="3530498"/>
              <a:chOff x="601040" y="806501"/>
              <a:chExt cx="3266225" cy="3530498"/>
            </a:xfrm>
          </p:grpSpPr>
          <p:sp>
            <p:nvSpPr>
              <p:cNvPr id="40" name="אליפסה 39"/>
              <p:cNvSpPr/>
              <p:nvPr/>
            </p:nvSpPr>
            <p:spPr>
              <a:xfrm>
                <a:off x="1355499" y="806501"/>
                <a:ext cx="1854403" cy="1854403"/>
              </a:xfrm>
              <a:prstGeom prst="ellipse">
                <a:avLst/>
              </a:prstGeom>
              <a:noFill/>
              <a:ln>
                <a:solidFill>
                  <a:srgbClr val="532476"/>
                </a:solidFill>
              </a:ln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cross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3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</p:sp>
          <p:sp>
            <p:nvSpPr>
              <p:cNvPr id="41" name="אליפסה 40"/>
              <p:cNvSpPr/>
              <p:nvPr/>
            </p:nvSpPr>
            <p:spPr>
              <a:xfrm>
                <a:off x="2012862" y="1662379"/>
                <a:ext cx="1854403" cy="1854403"/>
              </a:xfrm>
              <a:prstGeom prst="ellipse">
                <a:avLst/>
              </a:prstGeom>
              <a:noFill/>
              <a:ln>
                <a:solidFill>
                  <a:srgbClr val="532476"/>
                </a:solidFill>
              </a:ln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cross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3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</p:sp>
          <p:sp>
            <p:nvSpPr>
              <p:cNvPr id="42" name="אליפסה 41"/>
              <p:cNvSpPr/>
              <p:nvPr/>
            </p:nvSpPr>
            <p:spPr>
              <a:xfrm>
                <a:off x="1341239" y="2482596"/>
                <a:ext cx="1854403" cy="1854403"/>
              </a:xfrm>
              <a:prstGeom prst="ellipse">
                <a:avLst/>
              </a:prstGeom>
              <a:noFill/>
              <a:ln>
                <a:solidFill>
                  <a:srgbClr val="532476"/>
                </a:solidFill>
              </a:ln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139700" prst="cross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3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</p:sp>
          <p:sp>
            <p:nvSpPr>
              <p:cNvPr id="43" name="אליפסה 42"/>
              <p:cNvSpPr/>
              <p:nvPr/>
            </p:nvSpPr>
            <p:spPr>
              <a:xfrm>
                <a:off x="601040" y="1639514"/>
                <a:ext cx="1854403" cy="1854403"/>
              </a:xfrm>
              <a:prstGeom prst="ellipse">
                <a:avLst/>
              </a:prstGeom>
              <a:noFill/>
              <a:ln>
                <a:solidFill>
                  <a:srgbClr val="532476"/>
                </a:solidFill>
              </a:ln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cross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3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</p:sp>
        </p:grpSp>
        <p:sp>
          <p:nvSpPr>
            <p:cNvPr id="26" name="אליפסה 25"/>
            <p:cNvSpPr/>
            <p:nvPr/>
          </p:nvSpPr>
          <p:spPr>
            <a:xfrm>
              <a:off x="2225691" y="1648634"/>
              <a:ext cx="1854403" cy="1854403"/>
            </a:xfrm>
            <a:prstGeom prst="ellipse">
              <a:avLst/>
            </a:prstGeom>
            <a:solidFill>
              <a:srgbClr val="002060">
                <a:alpha val="56863"/>
              </a:srgbClr>
            </a:solidFill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 prst="cross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grpSp>
          <p:nvGrpSpPr>
            <p:cNvPr id="29" name="קבוצה 28"/>
            <p:cNvGrpSpPr/>
            <p:nvPr/>
          </p:nvGrpSpPr>
          <p:grpSpPr>
            <a:xfrm>
              <a:off x="813869" y="792756"/>
              <a:ext cx="2608862" cy="3530498"/>
              <a:chOff x="813869" y="792756"/>
              <a:chExt cx="2608862" cy="3530498"/>
            </a:xfrm>
          </p:grpSpPr>
          <p:grpSp>
            <p:nvGrpSpPr>
              <p:cNvPr id="30" name="קבוצה 29"/>
              <p:cNvGrpSpPr/>
              <p:nvPr/>
            </p:nvGrpSpPr>
            <p:grpSpPr>
              <a:xfrm>
                <a:off x="1568328" y="792756"/>
                <a:ext cx="1854403" cy="1854403"/>
                <a:chOff x="1696908" y="0"/>
                <a:chExt cx="1854403" cy="1854403"/>
              </a:xfrm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</p:grpSpPr>
            <p:sp>
              <p:nvSpPr>
                <p:cNvPr id="38" name="אליפסה 37"/>
                <p:cNvSpPr/>
                <p:nvPr/>
              </p:nvSpPr>
              <p:spPr>
                <a:xfrm>
                  <a:off x="1696908" y="0"/>
                  <a:ext cx="1854403" cy="1854403"/>
                </a:xfrm>
                <a:prstGeom prst="ellipse">
                  <a:avLst/>
                </a:prstGeom>
                <a:solidFill>
                  <a:srgbClr val="97899D">
                    <a:alpha val="56863"/>
                  </a:srgbClr>
                </a:solidFill>
                <a:sp3d>
                  <a:bevelT w="63500" h="25400" prst="cross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rgbClr r="0" g="0" b="0"/>
                </a:fillRef>
                <a:effectRef idx="3">
                  <a:schemeClr val="accent1">
                    <a:alpha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/>
                </a:fontRef>
              </p:style>
            </p:sp>
            <p:sp>
              <p:nvSpPr>
                <p:cNvPr id="39" name="אליפסה 4"/>
                <p:cNvSpPr txBox="1"/>
                <p:nvPr/>
              </p:nvSpPr>
              <p:spPr>
                <a:xfrm>
                  <a:off x="1910878" y="249631"/>
                  <a:ext cx="1426464" cy="58841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  <p:txBody>
                <a:bodyPr spcFirstLastPara="0" vert="horz" wrap="square" lIns="0" tIns="0" rIns="0" bIns="0" numCol="1" spcCol="1270" anchor="ctr" anchorCtr="0">
                  <a:noAutofit/>
                </a:bodyPr>
                <a:lstStyle/>
                <a:p>
                  <a:pPr lvl="0" algn="ctr" defTabSz="71120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he-IL" sz="2400" b="1" kern="1200" dirty="0" smtClean="0">
                      <a:solidFill>
                        <a:schemeClr val="bg1"/>
                      </a:solidFill>
                      <a:effectLst>
                        <a:outerShdw blurRad="50800" dist="50800" dir="5400000" algn="ctr" rotWithShape="0">
                          <a:srgbClr val="532476"/>
                        </a:outerShdw>
                      </a:effectLst>
                    </a:rPr>
                    <a:t>היבט הלומד</a:t>
                  </a:r>
                  <a:endParaRPr lang="en-US" sz="2400" b="1" kern="1200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rgbClr val="532476"/>
                      </a:outerShdw>
                    </a:effectLst>
                  </a:endParaRPr>
                </a:p>
              </p:txBody>
            </p:sp>
          </p:grpSp>
          <p:grpSp>
            <p:nvGrpSpPr>
              <p:cNvPr id="31" name="קבוצה 30"/>
              <p:cNvGrpSpPr/>
              <p:nvPr/>
            </p:nvGrpSpPr>
            <p:grpSpPr>
              <a:xfrm>
                <a:off x="1554068" y="2468851"/>
                <a:ext cx="1854403" cy="1854403"/>
                <a:chOff x="1682648" y="1676095"/>
                <a:chExt cx="1854403" cy="1854403"/>
              </a:xfrm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</p:grpSpPr>
            <p:sp>
              <p:nvSpPr>
                <p:cNvPr id="36" name="אליפסה 35"/>
                <p:cNvSpPr/>
                <p:nvPr/>
              </p:nvSpPr>
              <p:spPr>
                <a:xfrm>
                  <a:off x="1682648" y="1676095"/>
                  <a:ext cx="1854403" cy="1854403"/>
                </a:xfrm>
                <a:prstGeom prst="ellipse">
                  <a:avLst/>
                </a:prstGeom>
                <a:solidFill>
                  <a:srgbClr val="AC7AA7">
                    <a:alpha val="56863"/>
                  </a:srgbClr>
                </a:solidFill>
                <a:sp3d>
                  <a:bevelT w="139700" prst="cross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rgbClr r="0" g="0" b="0"/>
                </a:fillRef>
                <a:effectRef idx="3">
                  <a:schemeClr val="accent1">
                    <a:alpha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/>
                </a:fontRef>
              </p:style>
            </p:sp>
            <p:sp>
              <p:nvSpPr>
                <p:cNvPr id="37" name="אליפסה 8"/>
                <p:cNvSpPr txBox="1"/>
                <p:nvPr/>
              </p:nvSpPr>
              <p:spPr>
                <a:xfrm>
                  <a:off x="1896618" y="2775163"/>
                  <a:ext cx="1426464" cy="58841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  <p:txBody>
                <a:bodyPr spcFirstLastPara="0" vert="horz" wrap="square" lIns="0" tIns="0" rIns="0" bIns="0" numCol="1" spcCol="1270" anchor="ctr" anchorCtr="0">
                  <a:noAutofit/>
                </a:bodyPr>
                <a:lstStyle/>
                <a:p>
                  <a:pPr lvl="0" algn="ctr" defTabSz="71120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he-IL" sz="2400" b="1" kern="1200" dirty="0" smtClean="0">
                      <a:solidFill>
                        <a:schemeClr val="bg1"/>
                      </a:solidFill>
                      <a:effectLst>
                        <a:outerShdw blurRad="50800" dist="50800" dir="5400000" algn="ctr" rotWithShape="0">
                          <a:srgbClr val="532476"/>
                        </a:outerShdw>
                      </a:effectLst>
                    </a:rPr>
                    <a:t>היבט שילוב התקשוב</a:t>
                  </a:r>
                  <a:endParaRPr lang="en-US" sz="2400" b="1" kern="1200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rgbClr val="532476"/>
                      </a:outerShdw>
                    </a:effectLst>
                  </a:endParaRPr>
                </a:p>
              </p:txBody>
            </p:sp>
          </p:grpSp>
          <p:grpSp>
            <p:nvGrpSpPr>
              <p:cNvPr id="32" name="קבוצה 31"/>
              <p:cNvGrpSpPr/>
              <p:nvPr/>
            </p:nvGrpSpPr>
            <p:grpSpPr>
              <a:xfrm>
                <a:off x="813869" y="1625769"/>
                <a:ext cx="1854403" cy="1854403"/>
                <a:chOff x="942449" y="833013"/>
                <a:chExt cx="1854403" cy="1854403"/>
              </a:xfrm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</p:grpSpPr>
            <p:sp>
              <p:nvSpPr>
                <p:cNvPr id="34" name="אליפסה 33"/>
                <p:cNvSpPr/>
                <p:nvPr/>
              </p:nvSpPr>
              <p:spPr>
                <a:xfrm>
                  <a:off x="942449" y="833013"/>
                  <a:ext cx="1854403" cy="1854403"/>
                </a:xfrm>
                <a:prstGeom prst="ellipse">
                  <a:avLst/>
                </a:prstGeom>
                <a:solidFill>
                  <a:srgbClr val="30124F">
                    <a:alpha val="56863"/>
                  </a:srgbClr>
                </a:solidFill>
                <a:sp3d>
                  <a:bevelT w="63500" h="25400" prst="cross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rgbClr r="0" g="0" b="0"/>
                </a:fillRef>
                <a:effectRef idx="3">
                  <a:schemeClr val="accent1">
                    <a:alpha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/>
                </a:fontRef>
              </p:style>
            </p:sp>
            <p:sp>
              <p:nvSpPr>
                <p:cNvPr id="35" name="אליפסה 10"/>
                <p:cNvSpPr txBox="1"/>
                <p:nvPr/>
              </p:nvSpPr>
              <p:spPr>
                <a:xfrm>
                  <a:off x="1094459" y="992381"/>
                  <a:ext cx="842614" cy="1426464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  <p:txBody>
                <a:bodyPr spcFirstLastPara="0" vert="horz" wrap="square" lIns="0" tIns="0" rIns="0" bIns="0" numCol="1" spcCol="1270" anchor="ctr" anchorCtr="0">
                  <a:noAutofit/>
                </a:bodyPr>
                <a:lstStyle/>
                <a:p>
                  <a:pPr lvl="0" algn="ctr" defTabSz="71120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he-IL" sz="2400" b="1" kern="1200" dirty="0" smtClean="0">
                      <a:solidFill>
                        <a:schemeClr val="bg1"/>
                      </a:solidFill>
                      <a:effectLst>
                        <a:outerShdw blurRad="50800" dist="50800" dir="5400000" algn="ctr" rotWithShape="0">
                          <a:srgbClr val="532476"/>
                        </a:outerShdw>
                      </a:effectLst>
                    </a:rPr>
                    <a:t>היבט הארגון</a:t>
                  </a:r>
                  <a:endParaRPr lang="en-US" sz="2400" b="1" kern="1200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rgbClr val="532476"/>
                      </a:outerShdw>
                    </a:effectLst>
                  </a:endParaRPr>
                </a:p>
              </p:txBody>
            </p:sp>
          </p:grpSp>
          <p:sp>
            <p:nvSpPr>
              <p:cNvPr id="33" name="אליפסה 32"/>
              <p:cNvSpPr/>
              <p:nvPr/>
            </p:nvSpPr>
            <p:spPr>
              <a:xfrm>
                <a:off x="1853867" y="1935229"/>
                <a:ext cx="1213878" cy="1274366"/>
              </a:xfrm>
              <a:prstGeom prst="ellipse">
                <a:avLst/>
              </a:prstGeom>
              <a:solidFill>
                <a:srgbClr val="F2F2F2">
                  <a:alpha val="69804"/>
                </a:srgbClr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 prst="convex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 rtl="1"/>
                <a:endParaRPr lang="en-US" sz="2300" b="1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</p:grpSp>
      <p:sp>
        <p:nvSpPr>
          <p:cNvPr id="44" name="אליפסה 6"/>
          <p:cNvSpPr txBox="1"/>
          <p:nvPr/>
        </p:nvSpPr>
        <p:spPr>
          <a:xfrm>
            <a:off x="4756778" y="1964903"/>
            <a:ext cx="1108329" cy="1836107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711200" rtl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e-IL" sz="2400" b="1" kern="1200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532476"/>
                  </a:outerShdw>
                </a:effectLst>
              </a:rPr>
              <a:t>היבט סגל ההוראה</a:t>
            </a:r>
            <a:endParaRPr lang="en-US" sz="2400" b="1" kern="1200" dirty="0">
              <a:solidFill>
                <a:schemeClr val="bg1"/>
              </a:solidFill>
              <a:effectLst>
                <a:outerShdw blurRad="50800" dist="50800" dir="5400000" algn="ctr" rotWithShape="0">
                  <a:srgbClr val="532476"/>
                </a:outerShdw>
              </a:effectLst>
            </a:endParaRPr>
          </a:p>
        </p:txBody>
      </p:sp>
      <p:sp>
        <p:nvSpPr>
          <p:cNvPr id="53" name="מלבן 52"/>
          <p:cNvSpPr/>
          <p:nvPr/>
        </p:nvSpPr>
        <p:spPr>
          <a:xfrm>
            <a:off x="7325571" y="279585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מלבן 53"/>
          <p:cNvSpPr/>
          <p:nvPr/>
        </p:nvSpPr>
        <p:spPr>
          <a:xfrm>
            <a:off x="7633782" y="-16848"/>
            <a:ext cx="1535006" cy="5172196"/>
          </a:xfrm>
          <a:prstGeom prst="rect">
            <a:avLst/>
          </a:prstGeom>
          <a:solidFill>
            <a:srgbClr val="ACA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536575" algn="r" rtl="1"/>
            <a:endParaRPr lang="he-IL" sz="1600" dirty="0">
              <a:solidFill>
                <a:srgbClr val="30124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icrosoft YaHei UI Light" panose="020B0502040204020203" pitchFamily="34" charset="-122"/>
              <a:cs typeface="Calibri" panose="020F0502020204030204" pitchFamily="34" charset="0"/>
            </a:endParaRPr>
          </a:p>
        </p:txBody>
      </p:sp>
      <p:sp>
        <p:nvSpPr>
          <p:cNvPr id="55" name="מלבן 54"/>
          <p:cNvSpPr/>
          <p:nvPr/>
        </p:nvSpPr>
        <p:spPr>
          <a:xfrm>
            <a:off x="7615825" y="3475163"/>
            <a:ext cx="1514028" cy="833120"/>
          </a:xfrm>
          <a:prstGeom prst="rect">
            <a:avLst/>
          </a:prstGeom>
          <a:solidFill>
            <a:srgbClr val="E6CBDE"/>
          </a:solidFill>
          <a:ln w="57150">
            <a:solidFill>
              <a:srgbClr val="57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6" name="מלבן 55"/>
          <p:cNvSpPr/>
          <p:nvPr/>
        </p:nvSpPr>
        <p:spPr>
          <a:xfrm>
            <a:off x="7456666" y="933788"/>
            <a:ext cx="177691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טרת </a:t>
            </a:r>
          </a:p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 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מלבן 56"/>
          <p:cNvSpPr/>
          <p:nvPr/>
        </p:nvSpPr>
        <p:spPr>
          <a:xfrm>
            <a:off x="7440240" y="278534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מלבן 57"/>
          <p:cNvSpPr/>
          <p:nvPr/>
        </p:nvSpPr>
        <p:spPr>
          <a:xfrm>
            <a:off x="7892559" y="3651415"/>
            <a:ext cx="102303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סקנות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9" name="מלבן 58"/>
          <p:cNvSpPr/>
          <p:nvPr/>
        </p:nvSpPr>
        <p:spPr>
          <a:xfrm>
            <a:off x="7892559" y="4491907"/>
            <a:ext cx="10214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לצות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מלבן 59"/>
          <p:cNvSpPr/>
          <p:nvPr/>
        </p:nvSpPr>
        <p:spPr>
          <a:xfrm>
            <a:off x="7874572" y="1820935"/>
            <a:ext cx="96212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יטת </a:t>
            </a:r>
            <a:endParaRPr lang="he-IL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מלבן 60"/>
          <p:cNvSpPr/>
          <p:nvPr/>
        </p:nvSpPr>
        <p:spPr>
          <a:xfrm>
            <a:off x="7258780" y="28534"/>
            <a:ext cx="22166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קירת </a:t>
            </a: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פרות</a:t>
            </a:r>
            <a:endParaRPr lang="he-IL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תמונה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-16848"/>
            <a:ext cx="9181614" cy="50141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Shape 86"/>
          <p:cNvSpPr txBox="1"/>
          <p:nvPr/>
        </p:nvSpPr>
        <p:spPr>
          <a:xfrm>
            <a:off x="0" y="-245835"/>
            <a:ext cx="7995684" cy="2359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124F"/>
              </a:buClr>
              <a:buSzPts val="2800"/>
              <a:buFont typeface="Arial"/>
              <a:buNone/>
            </a:pPr>
            <a:endParaRPr lang="he-IL" sz="1000" dirty="0" smtClean="0">
              <a:solidFill>
                <a:srgbClr val="30124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icrosoft YaHei UI Light" panose="020B0502040204020203" pitchFamily="34" charset="-122"/>
              <a:ea typeface="Microsoft YaHei UI Light" panose="020B0502040204020203" pitchFamily="34" charset="-122"/>
              <a:cs typeface="Comix No2 CLM" panose="02000603000000000000" pitchFamily="2" charset="-79"/>
            </a:endParaRPr>
          </a:p>
          <a:p>
            <a:pPr marL="534988" algn="ctr" rtl="1">
              <a:buClr>
                <a:srgbClr val="30124F"/>
              </a:buClr>
              <a:buSzPts val="2800"/>
            </a:pPr>
            <a:r>
              <a:rPr lang="en" sz="2800" b="1" dirty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  <a:sym typeface="David"/>
              </a:rPr>
              <a:t>יחסי הגומלין </a:t>
            </a:r>
            <a:r>
              <a:rPr lang="en" sz="28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  <a:sym typeface="David"/>
              </a:rPr>
              <a:t>והלימה בין </a:t>
            </a:r>
            <a:r>
              <a:rPr lang="en" sz="2800" b="1" dirty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  <a:sym typeface="David"/>
              </a:rPr>
              <a:t>ארבעת ההיבטים </a:t>
            </a:r>
            <a:endParaRPr lang="he-IL" sz="2800" b="1" dirty="0" smtClean="0">
              <a:solidFill>
                <a:srgbClr val="532476"/>
              </a:solidFill>
              <a:latin typeface="Calibri" panose="020F0502020204030204" pitchFamily="34" charset="0"/>
              <a:cs typeface="Calibri" panose="020F0502020204030204" pitchFamily="34" charset="0"/>
              <a:sym typeface="David"/>
            </a:endParaRPr>
          </a:p>
          <a:p>
            <a:pPr marL="534988" algn="ctr" rtl="1">
              <a:buClr>
                <a:srgbClr val="30124F"/>
              </a:buClr>
              <a:buSzPts val="2800"/>
            </a:pPr>
            <a:r>
              <a:rPr lang="en" sz="28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  <a:sym typeface="David"/>
              </a:rPr>
              <a:t>מזמנים</a:t>
            </a:r>
            <a:r>
              <a:rPr lang="he-IL" sz="2800" b="1" dirty="0" smtClean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  <a:sym typeface="David"/>
              </a:rPr>
              <a:t> </a:t>
            </a:r>
            <a:r>
              <a:rPr lang="en" sz="2800" b="1" dirty="0">
                <a:solidFill>
                  <a:srgbClr val="532476"/>
                </a:solidFill>
                <a:latin typeface="Calibri" panose="020F0502020204030204" pitchFamily="34" charset="0"/>
                <a:cs typeface="Calibri" panose="020F0502020204030204" pitchFamily="34" charset="0"/>
                <a:sym typeface="David"/>
              </a:rPr>
              <a:t>חווית למידה מיטבית</a:t>
            </a:r>
            <a:endParaRPr sz="2800" b="1" dirty="0">
              <a:solidFill>
                <a:srgbClr val="5324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קבוצה 23"/>
          <p:cNvGrpSpPr/>
          <p:nvPr/>
        </p:nvGrpSpPr>
        <p:grpSpPr>
          <a:xfrm>
            <a:off x="1792224" y="868679"/>
            <a:ext cx="4113010" cy="4250331"/>
            <a:chOff x="813869" y="792756"/>
            <a:chExt cx="3266225" cy="3534809"/>
          </a:xfrm>
        </p:grpSpPr>
        <p:grpSp>
          <p:nvGrpSpPr>
            <p:cNvPr id="25" name="קבוצה 24"/>
            <p:cNvGrpSpPr/>
            <p:nvPr/>
          </p:nvGrpSpPr>
          <p:grpSpPr>
            <a:xfrm>
              <a:off x="813869" y="797067"/>
              <a:ext cx="3266225" cy="3530498"/>
              <a:chOff x="601040" y="806501"/>
              <a:chExt cx="3266225" cy="3530498"/>
            </a:xfrm>
          </p:grpSpPr>
          <p:sp>
            <p:nvSpPr>
              <p:cNvPr id="40" name="אליפסה 39"/>
              <p:cNvSpPr/>
              <p:nvPr/>
            </p:nvSpPr>
            <p:spPr>
              <a:xfrm>
                <a:off x="1355499" y="806501"/>
                <a:ext cx="1854403" cy="1854403"/>
              </a:xfrm>
              <a:prstGeom prst="ellipse">
                <a:avLst/>
              </a:prstGeom>
              <a:noFill/>
              <a:ln>
                <a:solidFill>
                  <a:srgbClr val="532476"/>
                </a:solidFill>
              </a:ln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cross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3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</p:sp>
          <p:sp>
            <p:nvSpPr>
              <p:cNvPr id="41" name="אליפסה 40"/>
              <p:cNvSpPr/>
              <p:nvPr/>
            </p:nvSpPr>
            <p:spPr>
              <a:xfrm>
                <a:off x="2012862" y="1662379"/>
                <a:ext cx="1854403" cy="1854403"/>
              </a:xfrm>
              <a:prstGeom prst="ellipse">
                <a:avLst/>
              </a:prstGeom>
              <a:noFill/>
              <a:ln>
                <a:solidFill>
                  <a:srgbClr val="532476"/>
                </a:solidFill>
              </a:ln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cross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3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</p:sp>
          <p:sp>
            <p:nvSpPr>
              <p:cNvPr id="42" name="אליפסה 41"/>
              <p:cNvSpPr/>
              <p:nvPr/>
            </p:nvSpPr>
            <p:spPr>
              <a:xfrm>
                <a:off x="1341239" y="2482596"/>
                <a:ext cx="1854403" cy="1854403"/>
              </a:xfrm>
              <a:prstGeom prst="ellipse">
                <a:avLst/>
              </a:prstGeom>
              <a:noFill/>
              <a:ln>
                <a:solidFill>
                  <a:srgbClr val="532476"/>
                </a:solidFill>
              </a:ln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139700" prst="cross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3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</p:sp>
          <p:sp>
            <p:nvSpPr>
              <p:cNvPr id="43" name="אליפסה 42"/>
              <p:cNvSpPr/>
              <p:nvPr/>
            </p:nvSpPr>
            <p:spPr>
              <a:xfrm>
                <a:off x="601040" y="1639514"/>
                <a:ext cx="1854403" cy="1854403"/>
              </a:xfrm>
              <a:prstGeom prst="ellipse">
                <a:avLst/>
              </a:prstGeom>
              <a:noFill/>
              <a:ln>
                <a:solidFill>
                  <a:srgbClr val="532476"/>
                </a:solidFill>
              </a:ln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 prst="cross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3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</p:sp>
        </p:grpSp>
        <p:sp>
          <p:nvSpPr>
            <p:cNvPr id="26" name="אליפסה 25"/>
            <p:cNvSpPr/>
            <p:nvPr/>
          </p:nvSpPr>
          <p:spPr>
            <a:xfrm>
              <a:off x="2225691" y="1648634"/>
              <a:ext cx="1854403" cy="1854403"/>
            </a:xfrm>
            <a:prstGeom prst="ellipse">
              <a:avLst/>
            </a:prstGeom>
            <a:solidFill>
              <a:srgbClr val="002060">
                <a:alpha val="56863"/>
              </a:srgbClr>
            </a:solidFill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 prst="cross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grpSp>
          <p:nvGrpSpPr>
            <p:cNvPr id="29" name="קבוצה 28"/>
            <p:cNvGrpSpPr/>
            <p:nvPr/>
          </p:nvGrpSpPr>
          <p:grpSpPr>
            <a:xfrm>
              <a:off x="813869" y="792756"/>
              <a:ext cx="2608862" cy="3530498"/>
              <a:chOff x="813869" y="792756"/>
              <a:chExt cx="2608862" cy="3530498"/>
            </a:xfrm>
          </p:grpSpPr>
          <p:grpSp>
            <p:nvGrpSpPr>
              <p:cNvPr id="30" name="קבוצה 29"/>
              <p:cNvGrpSpPr/>
              <p:nvPr/>
            </p:nvGrpSpPr>
            <p:grpSpPr>
              <a:xfrm>
                <a:off x="1568328" y="792756"/>
                <a:ext cx="1854403" cy="1854403"/>
                <a:chOff x="1696908" y="0"/>
                <a:chExt cx="1854403" cy="1854403"/>
              </a:xfrm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</p:grpSpPr>
            <p:sp>
              <p:nvSpPr>
                <p:cNvPr id="38" name="אליפסה 37"/>
                <p:cNvSpPr/>
                <p:nvPr/>
              </p:nvSpPr>
              <p:spPr>
                <a:xfrm>
                  <a:off x="1696908" y="0"/>
                  <a:ext cx="1854403" cy="1854403"/>
                </a:xfrm>
                <a:prstGeom prst="ellipse">
                  <a:avLst/>
                </a:prstGeom>
                <a:solidFill>
                  <a:srgbClr val="97899D">
                    <a:alpha val="56863"/>
                  </a:srgbClr>
                </a:solidFill>
                <a:sp3d>
                  <a:bevelT w="63500" h="25400" prst="cross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rgbClr r="0" g="0" b="0"/>
                </a:fillRef>
                <a:effectRef idx="3">
                  <a:schemeClr val="accent1">
                    <a:alpha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/>
                </a:fontRef>
              </p:style>
            </p:sp>
            <p:sp>
              <p:nvSpPr>
                <p:cNvPr id="39" name="אליפסה 4"/>
                <p:cNvSpPr txBox="1"/>
                <p:nvPr/>
              </p:nvSpPr>
              <p:spPr>
                <a:xfrm>
                  <a:off x="1910878" y="249631"/>
                  <a:ext cx="1426464" cy="58841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  <p:txBody>
                <a:bodyPr spcFirstLastPara="0" vert="horz" wrap="square" lIns="0" tIns="0" rIns="0" bIns="0" numCol="1" spcCol="1270" anchor="ctr" anchorCtr="0">
                  <a:noAutofit/>
                </a:bodyPr>
                <a:lstStyle/>
                <a:p>
                  <a:pPr lvl="0" algn="ctr" defTabSz="71120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he-IL" sz="2400" b="1" kern="1200" dirty="0" smtClean="0">
                      <a:solidFill>
                        <a:schemeClr val="bg1"/>
                      </a:solidFill>
                      <a:effectLst>
                        <a:outerShdw blurRad="50800" dist="50800" dir="5400000" algn="ctr" rotWithShape="0">
                          <a:srgbClr val="532476"/>
                        </a:outerShdw>
                      </a:effectLst>
                    </a:rPr>
                    <a:t>היבט הלומד</a:t>
                  </a:r>
                  <a:endParaRPr lang="en-US" sz="2400" b="1" kern="1200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rgbClr val="532476"/>
                      </a:outerShdw>
                    </a:effectLst>
                  </a:endParaRPr>
                </a:p>
              </p:txBody>
            </p:sp>
          </p:grpSp>
          <p:grpSp>
            <p:nvGrpSpPr>
              <p:cNvPr id="31" name="קבוצה 30"/>
              <p:cNvGrpSpPr/>
              <p:nvPr/>
            </p:nvGrpSpPr>
            <p:grpSpPr>
              <a:xfrm>
                <a:off x="1554068" y="2468851"/>
                <a:ext cx="1854403" cy="1854403"/>
                <a:chOff x="1682648" y="1676095"/>
                <a:chExt cx="1854403" cy="1854403"/>
              </a:xfrm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</p:grpSpPr>
            <p:sp>
              <p:nvSpPr>
                <p:cNvPr id="36" name="אליפסה 35"/>
                <p:cNvSpPr/>
                <p:nvPr/>
              </p:nvSpPr>
              <p:spPr>
                <a:xfrm>
                  <a:off x="1682648" y="1676095"/>
                  <a:ext cx="1854403" cy="1854403"/>
                </a:xfrm>
                <a:prstGeom prst="ellipse">
                  <a:avLst/>
                </a:prstGeom>
                <a:solidFill>
                  <a:srgbClr val="AC7AA7">
                    <a:alpha val="56863"/>
                  </a:srgbClr>
                </a:solidFill>
                <a:sp3d>
                  <a:bevelT w="139700" prst="cross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rgbClr r="0" g="0" b="0"/>
                </a:fillRef>
                <a:effectRef idx="3">
                  <a:schemeClr val="accent1">
                    <a:alpha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/>
                </a:fontRef>
              </p:style>
            </p:sp>
            <p:sp>
              <p:nvSpPr>
                <p:cNvPr id="37" name="אליפסה 8"/>
                <p:cNvSpPr txBox="1"/>
                <p:nvPr/>
              </p:nvSpPr>
              <p:spPr>
                <a:xfrm>
                  <a:off x="1896618" y="2775163"/>
                  <a:ext cx="1426464" cy="588416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  <p:txBody>
                <a:bodyPr spcFirstLastPara="0" vert="horz" wrap="square" lIns="0" tIns="0" rIns="0" bIns="0" numCol="1" spcCol="1270" anchor="ctr" anchorCtr="0">
                  <a:noAutofit/>
                </a:bodyPr>
                <a:lstStyle/>
                <a:p>
                  <a:pPr lvl="0" algn="ctr" defTabSz="71120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he-IL" sz="2400" b="1" kern="1200" dirty="0" smtClean="0">
                      <a:solidFill>
                        <a:schemeClr val="bg1"/>
                      </a:solidFill>
                      <a:effectLst>
                        <a:outerShdw blurRad="50800" dist="50800" dir="5400000" algn="ctr" rotWithShape="0">
                          <a:srgbClr val="532476"/>
                        </a:outerShdw>
                      </a:effectLst>
                    </a:rPr>
                    <a:t>היבט שילוב התקשוב</a:t>
                  </a:r>
                  <a:endParaRPr lang="en-US" sz="2400" b="1" kern="1200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rgbClr val="532476"/>
                      </a:outerShdw>
                    </a:effectLst>
                  </a:endParaRPr>
                </a:p>
              </p:txBody>
            </p:sp>
          </p:grpSp>
          <p:grpSp>
            <p:nvGrpSpPr>
              <p:cNvPr id="32" name="קבוצה 31"/>
              <p:cNvGrpSpPr/>
              <p:nvPr/>
            </p:nvGrpSpPr>
            <p:grpSpPr>
              <a:xfrm>
                <a:off x="813869" y="1625769"/>
                <a:ext cx="1854403" cy="1854403"/>
                <a:chOff x="942449" y="833013"/>
                <a:chExt cx="1854403" cy="1854403"/>
              </a:xfrm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</p:grpSpPr>
            <p:sp>
              <p:nvSpPr>
                <p:cNvPr id="34" name="אליפסה 33"/>
                <p:cNvSpPr/>
                <p:nvPr/>
              </p:nvSpPr>
              <p:spPr>
                <a:xfrm>
                  <a:off x="942449" y="833013"/>
                  <a:ext cx="1854403" cy="1854403"/>
                </a:xfrm>
                <a:prstGeom prst="ellipse">
                  <a:avLst/>
                </a:prstGeom>
                <a:solidFill>
                  <a:srgbClr val="30124F">
                    <a:alpha val="56863"/>
                  </a:srgbClr>
                </a:solidFill>
                <a:sp3d>
                  <a:bevelT w="63500" h="25400" prst="cross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rgbClr r="0" g="0" b="0"/>
                </a:fillRef>
                <a:effectRef idx="3">
                  <a:schemeClr val="accent1">
                    <a:alpha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/>
                </a:fontRef>
              </p:style>
            </p:sp>
            <p:sp>
              <p:nvSpPr>
                <p:cNvPr id="35" name="אליפסה 10"/>
                <p:cNvSpPr txBox="1"/>
                <p:nvPr/>
              </p:nvSpPr>
              <p:spPr>
                <a:xfrm>
                  <a:off x="1094459" y="992381"/>
                  <a:ext cx="842614" cy="1426464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  <p:txBody>
                <a:bodyPr spcFirstLastPara="0" vert="horz" wrap="square" lIns="0" tIns="0" rIns="0" bIns="0" numCol="1" spcCol="1270" anchor="ctr" anchorCtr="0">
                  <a:noAutofit/>
                </a:bodyPr>
                <a:lstStyle/>
                <a:p>
                  <a:pPr lvl="0" algn="ctr" defTabSz="711200" rtl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he-IL" sz="2400" b="1" kern="1200" dirty="0" smtClean="0">
                      <a:solidFill>
                        <a:schemeClr val="bg1"/>
                      </a:solidFill>
                      <a:effectLst>
                        <a:outerShdw blurRad="50800" dist="50800" dir="5400000" algn="ctr" rotWithShape="0">
                          <a:srgbClr val="532476"/>
                        </a:outerShdw>
                      </a:effectLst>
                    </a:rPr>
                    <a:t>היבט הארגון</a:t>
                  </a:r>
                  <a:endParaRPr lang="en-US" sz="2400" b="1" kern="1200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rgbClr val="532476"/>
                      </a:outerShdw>
                    </a:effectLst>
                  </a:endParaRPr>
                </a:p>
              </p:txBody>
            </p:sp>
          </p:grpSp>
          <p:sp>
            <p:nvSpPr>
              <p:cNvPr id="33" name="אליפסה 32"/>
              <p:cNvSpPr/>
              <p:nvPr/>
            </p:nvSpPr>
            <p:spPr>
              <a:xfrm>
                <a:off x="1853867" y="1935229"/>
                <a:ext cx="1213878" cy="1274366"/>
              </a:xfrm>
              <a:prstGeom prst="ellipse">
                <a:avLst/>
              </a:prstGeom>
              <a:solidFill>
                <a:srgbClr val="F2F2F2">
                  <a:alpha val="69804"/>
                </a:srgbClr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 prst="convex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 rtl="1"/>
                <a:r>
                  <a:rPr lang="he-IL" sz="2300" b="1" dirty="0" smtClean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חווית למידה מיטבית</a:t>
                </a:r>
                <a:endParaRPr lang="en-US" sz="2300" b="1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</p:grpSp>
      <p:sp>
        <p:nvSpPr>
          <p:cNvPr id="44" name="אליפסה 6"/>
          <p:cNvSpPr txBox="1"/>
          <p:nvPr/>
        </p:nvSpPr>
        <p:spPr>
          <a:xfrm>
            <a:off x="4756778" y="1964903"/>
            <a:ext cx="1108329" cy="1836107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711200" rtl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e-IL" sz="2400" b="1" kern="1200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532476"/>
                  </a:outerShdw>
                </a:effectLst>
              </a:rPr>
              <a:t>היבט סגל ההוראה</a:t>
            </a:r>
            <a:endParaRPr lang="en-US" sz="2400" b="1" kern="1200" dirty="0">
              <a:solidFill>
                <a:schemeClr val="bg1"/>
              </a:solidFill>
              <a:effectLst>
                <a:outerShdw blurRad="50800" dist="50800" dir="5400000" algn="ctr" rotWithShape="0">
                  <a:srgbClr val="532476"/>
                </a:outerShdw>
              </a:effectLst>
            </a:endParaRPr>
          </a:p>
        </p:txBody>
      </p:sp>
      <p:sp>
        <p:nvSpPr>
          <p:cNvPr id="53" name="מלבן 52"/>
          <p:cNvSpPr/>
          <p:nvPr/>
        </p:nvSpPr>
        <p:spPr>
          <a:xfrm>
            <a:off x="7325571" y="279585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מלבן 53"/>
          <p:cNvSpPr/>
          <p:nvPr/>
        </p:nvSpPr>
        <p:spPr>
          <a:xfrm>
            <a:off x="7633782" y="-16848"/>
            <a:ext cx="1535006" cy="5172196"/>
          </a:xfrm>
          <a:prstGeom prst="rect">
            <a:avLst/>
          </a:prstGeom>
          <a:solidFill>
            <a:srgbClr val="ACA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536575" algn="r" rtl="1"/>
            <a:endParaRPr lang="he-IL" sz="1600" dirty="0">
              <a:solidFill>
                <a:srgbClr val="30124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icrosoft YaHei UI Light" panose="020B0502040204020203" pitchFamily="34" charset="-122"/>
              <a:cs typeface="Calibri" panose="020F0502020204030204" pitchFamily="34" charset="0"/>
            </a:endParaRPr>
          </a:p>
        </p:txBody>
      </p:sp>
      <p:sp>
        <p:nvSpPr>
          <p:cNvPr id="55" name="מלבן 54"/>
          <p:cNvSpPr/>
          <p:nvPr/>
        </p:nvSpPr>
        <p:spPr>
          <a:xfrm>
            <a:off x="7615825" y="3475163"/>
            <a:ext cx="1514027" cy="833120"/>
          </a:xfrm>
          <a:prstGeom prst="rect">
            <a:avLst/>
          </a:prstGeom>
          <a:solidFill>
            <a:srgbClr val="E6CBDE"/>
          </a:solidFill>
          <a:ln w="57150">
            <a:solidFill>
              <a:srgbClr val="57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6" name="מלבן 55"/>
          <p:cNvSpPr/>
          <p:nvPr/>
        </p:nvSpPr>
        <p:spPr>
          <a:xfrm>
            <a:off x="7456666" y="933788"/>
            <a:ext cx="177691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טרת </a:t>
            </a:r>
          </a:p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 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מלבן 56"/>
          <p:cNvSpPr/>
          <p:nvPr/>
        </p:nvSpPr>
        <p:spPr>
          <a:xfrm>
            <a:off x="7440240" y="278534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מלבן 57"/>
          <p:cNvSpPr/>
          <p:nvPr/>
        </p:nvSpPr>
        <p:spPr>
          <a:xfrm>
            <a:off x="7892559" y="3651415"/>
            <a:ext cx="102303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סקנות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9" name="מלבן 58"/>
          <p:cNvSpPr/>
          <p:nvPr/>
        </p:nvSpPr>
        <p:spPr>
          <a:xfrm>
            <a:off x="7892559" y="4491907"/>
            <a:ext cx="10214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לצות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מלבן 59"/>
          <p:cNvSpPr/>
          <p:nvPr/>
        </p:nvSpPr>
        <p:spPr>
          <a:xfrm>
            <a:off x="7874572" y="1820935"/>
            <a:ext cx="96212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יטת </a:t>
            </a:r>
            <a:endParaRPr lang="he-IL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מלבן 60"/>
          <p:cNvSpPr/>
          <p:nvPr/>
        </p:nvSpPr>
        <p:spPr>
          <a:xfrm>
            <a:off x="7258780" y="28534"/>
            <a:ext cx="22166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קירת </a:t>
            </a: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פרות</a:t>
            </a:r>
            <a:endParaRPr lang="he-IL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תמונה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-12418"/>
            <a:ext cx="9168789" cy="504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463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Shape 7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94590" y="-115614"/>
            <a:ext cx="7893269" cy="5270962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מלבן 12"/>
          <p:cNvSpPr/>
          <p:nvPr/>
        </p:nvSpPr>
        <p:spPr>
          <a:xfrm>
            <a:off x="7325571" y="279585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מלבן 13"/>
          <p:cNvSpPr/>
          <p:nvPr/>
        </p:nvSpPr>
        <p:spPr>
          <a:xfrm>
            <a:off x="7633782" y="-115614"/>
            <a:ext cx="1535006" cy="5270962"/>
          </a:xfrm>
          <a:prstGeom prst="rect">
            <a:avLst/>
          </a:prstGeom>
          <a:solidFill>
            <a:srgbClr val="ACA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536575" algn="r" rtl="1"/>
            <a:endParaRPr lang="he-IL" sz="1600" dirty="0">
              <a:solidFill>
                <a:srgbClr val="30124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icrosoft YaHei UI Light" panose="020B0502040204020203" pitchFamily="34" charset="-122"/>
              <a:cs typeface="Calibri" panose="020F0502020204030204" pitchFamily="34" charset="0"/>
            </a:endParaRPr>
          </a:p>
        </p:txBody>
      </p:sp>
      <p:sp>
        <p:nvSpPr>
          <p:cNvPr id="15" name="מלבן 14"/>
          <p:cNvSpPr/>
          <p:nvPr/>
        </p:nvSpPr>
        <p:spPr>
          <a:xfrm>
            <a:off x="7633781" y="3475163"/>
            <a:ext cx="1496071" cy="833120"/>
          </a:xfrm>
          <a:prstGeom prst="rect">
            <a:avLst/>
          </a:prstGeom>
          <a:solidFill>
            <a:srgbClr val="E6CBDE"/>
          </a:solidFill>
          <a:ln w="57150">
            <a:solidFill>
              <a:srgbClr val="57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6" name="מלבן 15"/>
          <p:cNvSpPr/>
          <p:nvPr/>
        </p:nvSpPr>
        <p:spPr>
          <a:xfrm>
            <a:off x="7456666" y="933788"/>
            <a:ext cx="177691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טרת </a:t>
            </a:r>
          </a:p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 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מלבן 16"/>
          <p:cNvSpPr/>
          <p:nvPr/>
        </p:nvSpPr>
        <p:spPr>
          <a:xfrm>
            <a:off x="7440240" y="278534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מלבן 17"/>
          <p:cNvSpPr/>
          <p:nvPr/>
        </p:nvSpPr>
        <p:spPr>
          <a:xfrm>
            <a:off x="7892559" y="3651415"/>
            <a:ext cx="102303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סקנות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מלבן 18"/>
          <p:cNvSpPr/>
          <p:nvPr/>
        </p:nvSpPr>
        <p:spPr>
          <a:xfrm>
            <a:off x="7892559" y="4491907"/>
            <a:ext cx="10214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לצות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7874572" y="1820935"/>
            <a:ext cx="96212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יטת </a:t>
            </a:r>
            <a:endParaRPr lang="he-IL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מלבן 20"/>
          <p:cNvSpPr/>
          <p:nvPr/>
        </p:nvSpPr>
        <p:spPr>
          <a:xfrm>
            <a:off x="7258780" y="28534"/>
            <a:ext cx="22166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קירת </a:t>
            </a: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פרות</a:t>
            </a:r>
            <a:endParaRPr lang="he-IL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תמונה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467833" y="-244548"/>
            <a:ext cx="9701413" cy="5528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157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מלבן 41"/>
          <p:cNvSpPr/>
          <p:nvPr/>
        </p:nvSpPr>
        <p:spPr>
          <a:xfrm>
            <a:off x="7325571" y="279585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מלבן 42"/>
          <p:cNvSpPr/>
          <p:nvPr/>
        </p:nvSpPr>
        <p:spPr>
          <a:xfrm>
            <a:off x="7633782" y="-16848"/>
            <a:ext cx="1535006" cy="5172196"/>
          </a:xfrm>
          <a:prstGeom prst="rect">
            <a:avLst/>
          </a:prstGeom>
          <a:solidFill>
            <a:srgbClr val="ACA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536575" algn="r" rtl="1"/>
            <a:endParaRPr lang="he-IL" sz="1600" dirty="0">
              <a:solidFill>
                <a:srgbClr val="30124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Microsoft YaHei UI Light" panose="020B0502040204020203" pitchFamily="34" charset="-122"/>
              <a:cs typeface="Calibri" panose="020F0502020204030204" pitchFamily="34" charset="0"/>
            </a:endParaRPr>
          </a:p>
        </p:txBody>
      </p:sp>
      <p:sp>
        <p:nvSpPr>
          <p:cNvPr id="44" name="מלבן 43"/>
          <p:cNvSpPr/>
          <p:nvPr/>
        </p:nvSpPr>
        <p:spPr>
          <a:xfrm>
            <a:off x="7611964" y="4273944"/>
            <a:ext cx="1517888" cy="833120"/>
          </a:xfrm>
          <a:prstGeom prst="rect">
            <a:avLst/>
          </a:prstGeom>
          <a:solidFill>
            <a:srgbClr val="E6CBDE"/>
          </a:solidFill>
          <a:ln w="76200">
            <a:solidFill>
              <a:srgbClr val="57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45" name="מלבן 44"/>
          <p:cNvSpPr/>
          <p:nvPr/>
        </p:nvSpPr>
        <p:spPr>
          <a:xfrm>
            <a:off x="7456666" y="933788"/>
            <a:ext cx="177691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טרת </a:t>
            </a:r>
          </a:p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 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מלבן 45"/>
          <p:cNvSpPr/>
          <p:nvPr/>
        </p:nvSpPr>
        <p:spPr>
          <a:xfrm>
            <a:off x="7440240" y="2869426"/>
            <a:ext cx="18322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מצאים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מלבן 46"/>
          <p:cNvSpPr/>
          <p:nvPr/>
        </p:nvSpPr>
        <p:spPr>
          <a:xfrm>
            <a:off x="7892559" y="3588355"/>
            <a:ext cx="102303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מסקנות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מלבן 47"/>
          <p:cNvSpPr/>
          <p:nvPr/>
        </p:nvSpPr>
        <p:spPr>
          <a:xfrm>
            <a:off x="7892559" y="4460377"/>
            <a:ext cx="10214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rgbClr val="5324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לצות</a:t>
            </a:r>
            <a:endParaRPr lang="en-US" sz="2200" b="1" dirty="0">
              <a:solidFill>
                <a:srgbClr val="53247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מלבן 48"/>
          <p:cNvSpPr/>
          <p:nvPr/>
        </p:nvSpPr>
        <p:spPr>
          <a:xfrm>
            <a:off x="7874572" y="1820935"/>
            <a:ext cx="96212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e-IL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שיטת </a:t>
            </a:r>
            <a:endParaRPr lang="he-IL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המחקר</a:t>
            </a:r>
            <a:endParaRPr 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מלבן 49"/>
          <p:cNvSpPr/>
          <p:nvPr/>
        </p:nvSpPr>
        <p:spPr>
          <a:xfrm>
            <a:off x="7258780" y="28534"/>
            <a:ext cx="22166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קירת </a:t>
            </a:r>
          </a:p>
          <a:p>
            <a:pPr algn="ctr"/>
            <a:r>
              <a:rPr lang="he-I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ספרות</a:t>
            </a:r>
            <a:endParaRPr lang="he-IL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1" name="Rectangle 36"/>
          <p:cNvSpPr/>
          <p:nvPr/>
        </p:nvSpPr>
        <p:spPr>
          <a:xfrm flipH="1">
            <a:off x="4567871" y="10805821"/>
            <a:ext cx="2102473" cy="7996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88188" rtlCol="0" anchor="ctr"/>
          <a:lstStyle/>
          <a:p>
            <a:pPr marL="590617" indent="-590617" defTabSz="1889973">
              <a:buFont typeface="Arial" panose="020B0604020202020204" pitchFamily="34" charset="0"/>
              <a:buChar char="•"/>
              <a:defRPr/>
            </a:pPr>
            <a:endParaRPr lang="en-US" sz="3720" kern="0" dirty="0">
              <a:solidFill>
                <a:schemeClr val="bg1"/>
              </a:solidFill>
            </a:endParaRPr>
          </a:p>
        </p:txBody>
      </p:sp>
      <p:sp>
        <p:nvSpPr>
          <p:cNvPr id="122" name="Rectangle 51"/>
          <p:cNvSpPr/>
          <p:nvPr/>
        </p:nvSpPr>
        <p:spPr>
          <a:xfrm>
            <a:off x="4571636" y="10805821"/>
            <a:ext cx="843969" cy="802704"/>
          </a:xfrm>
          <a:prstGeom prst="rect">
            <a:avLst/>
          </a:prstGeom>
          <a:solidFill>
            <a:srgbClr val="000000">
              <a:alpha val="1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89973">
              <a:defRPr/>
            </a:pPr>
            <a:endParaRPr lang="en-US" sz="3720" kern="0" dirty="0">
              <a:solidFill>
                <a:schemeClr val="bg1"/>
              </a:solidFill>
            </a:endParaRPr>
          </a:p>
        </p:txBody>
      </p:sp>
      <p:sp>
        <p:nvSpPr>
          <p:cNvPr id="123" name="Freeform 61"/>
          <p:cNvSpPr/>
          <p:nvPr/>
        </p:nvSpPr>
        <p:spPr>
          <a:xfrm>
            <a:off x="6263339" y="11220166"/>
            <a:ext cx="407005" cy="388358"/>
          </a:xfrm>
          <a:custGeom>
            <a:avLst/>
            <a:gdLst>
              <a:gd name="connsiteX0" fmla="*/ 0 w 278296"/>
              <a:gd name="connsiteY0" fmla="*/ 0 h 341906"/>
              <a:gd name="connsiteX1" fmla="*/ 278296 w 278296"/>
              <a:gd name="connsiteY1" fmla="*/ 341906 h 341906"/>
              <a:gd name="connsiteX2" fmla="*/ 278296 w 278296"/>
              <a:gd name="connsiteY2" fmla="*/ 7951 h 341906"/>
              <a:gd name="connsiteX3" fmla="*/ 0 w 278296"/>
              <a:gd name="connsiteY3" fmla="*/ 0 h 341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96" h="341906">
                <a:moveTo>
                  <a:pt x="0" y="0"/>
                </a:moveTo>
                <a:lnTo>
                  <a:pt x="278296" y="341906"/>
                </a:lnTo>
                <a:lnTo>
                  <a:pt x="278296" y="795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89973">
              <a:defRPr/>
            </a:pPr>
            <a:endParaRPr lang="en-US" sz="3720" kern="0" dirty="0">
              <a:solidFill>
                <a:schemeClr val="bg1"/>
              </a:solidFill>
            </a:endParaRPr>
          </a:p>
        </p:txBody>
      </p:sp>
      <p:sp>
        <p:nvSpPr>
          <p:cNvPr id="124" name="POWER_USER_ID_ICONS_Computer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4720270" y="10892359"/>
            <a:ext cx="564180" cy="626719"/>
          </a:xfrm>
          <a:custGeom>
            <a:avLst/>
            <a:gdLst>
              <a:gd name="T0" fmla="*/ 970 w 1129"/>
              <a:gd name="T1" fmla="*/ 1043 h 1250"/>
              <a:gd name="T2" fmla="*/ 970 w 1129"/>
              <a:gd name="T3" fmla="*/ 959 h 1250"/>
              <a:gd name="T4" fmla="*/ 783 w 1129"/>
              <a:gd name="T5" fmla="*/ 959 h 1250"/>
              <a:gd name="T6" fmla="*/ 783 w 1129"/>
              <a:gd name="T7" fmla="*/ 910 h 1250"/>
              <a:gd name="T8" fmla="*/ 1100 w 1129"/>
              <a:gd name="T9" fmla="*/ 910 h 1250"/>
              <a:gd name="T10" fmla="*/ 1121 w 1129"/>
              <a:gd name="T11" fmla="*/ 889 h 1250"/>
              <a:gd name="T12" fmla="*/ 1121 w 1129"/>
              <a:gd name="T13" fmla="*/ 21 h 1250"/>
              <a:gd name="T14" fmla="*/ 1100 w 1129"/>
              <a:gd name="T15" fmla="*/ 0 h 1250"/>
              <a:gd name="T16" fmla="*/ 25 w 1129"/>
              <a:gd name="T17" fmla="*/ 0 h 1250"/>
              <a:gd name="T18" fmla="*/ 4 w 1129"/>
              <a:gd name="T19" fmla="*/ 21 h 1250"/>
              <a:gd name="T20" fmla="*/ 4 w 1129"/>
              <a:gd name="T21" fmla="*/ 889 h 1250"/>
              <a:gd name="T22" fmla="*/ 25 w 1129"/>
              <a:gd name="T23" fmla="*/ 910 h 1250"/>
              <a:gd name="T24" fmla="*/ 346 w 1129"/>
              <a:gd name="T25" fmla="*/ 910 h 1250"/>
              <a:gd name="T26" fmla="*/ 346 w 1129"/>
              <a:gd name="T27" fmla="*/ 959 h 1250"/>
              <a:gd name="T28" fmla="*/ 159 w 1129"/>
              <a:gd name="T29" fmla="*/ 959 h 1250"/>
              <a:gd name="T30" fmla="*/ 159 w 1129"/>
              <a:gd name="T31" fmla="*/ 1043 h 1250"/>
              <a:gd name="T32" fmla="*/ 0 w 1129"/>
              <a:gd name="T33" fmla="*/ 1158 h 1250"/>
              <a:gd name="T34" fmla="*/ 0 w 1129"/>
              <a:gd name="T35" fmla="*/ 1250 h 1250"/>
              <a:gd name="T36" fmla="*/ 1129 w 1129"/>
              <a:gd name="T37" fmla="*/ 1250 h 1250"/>
              <a:gd name="T38" fmla="*/ 1129 w 1129"/>
              <a:gd name="T39" fmla="*/ 1158 h 1250"/>
              <a:gd name="T40" fmla="*/ 970 w 1129"/>
              <a:gd name="T41" fmla="*/ 1043 h 1250"/>
              <a:gd name="T42" fmla="*/ 80 w 1129"/>
              <a:gd name="T43" fmla="*/ 828 h 1250"/>
              <a:gd name="T44" fmla="*/ 80 w 1129"/>
              <a:gd name="T45" fmla="*/ 76 h 1250"/>
              <a:gd name="T46" fmla="*/ 97 w 1129"/>
              <a:gd name="T47" fmla="*/ 58 h 1250"/>
              <a:gd name="T48" fmla="*/ 1024 w 1129"/>
              <a:gd name="T49" fmla="*/ 58 h 1250"/>
              <a:gd name="T50" fmla="*/ 1042 w 1129"/>
              <a:gd name="T51" fmla="*/ 76 h 1250"/>
              <a:gd name="T52" fmla="*/ 1042 w 1129"/>
              <a:gd name="T53" fmla="*/ 828 h 1250"/>
              <a:gd name="T54" fmla="*/ 1024 w 1129"/>
              <a:gd name="T55" fmla="*/ 846 h 1250"/>
              <a:gd name="T56" fmla="*/ 97 w 1129"/>
              <a:gd name="T57" fmla="*/ 846 h 1250"/>
              <a:gd name="T58" fmla="*/ 80 w 1129"/>
              <a:gd name="T59" fmla="*/ 828 h 1250"/>
              <a:gd name="T60" fmla="*/ 56 w 1129"/>
              <a:gd name="T61" fmla="*/ 1153 h 1250"/>
              <a:gd name="T62" fmla="*/ 199 w 1129"/>
              <a:gd name="T63" fmla="*/ 1051 h 1250"/>
              <a:gd name="T64" fmla="*/ 930 w 1129"/>
              <a:gd name="T65" fmla="*/ 1051 h 1250"/>
              <a:gd name="T66" fmla="*/ 1073 w 1129"/>
              <a:gd name="T67" fmla="*/ 1153 h 1250"/>
              <a:gd name="T68" fmla="*/ 56 w 1129"/>
              <a:gd name="T69" fmla="*/ 1153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129" h="1250">
                <a:moveTo>
                  <a:pt x="970" y="1043"/>
                </a:moveTo>
                <a:lnTo>
                  <a:pt x="970" y="959"/>
                </a:lnTo>
                <a:lnTo>
                  <a:pt x="783" y="959"/>
                </a:lnTo>
                <a:lnTo>
                  <a:pt x="783" y="910"/>
                </a:lnTo>
                <a:lnTo>
                  <a:pt x="1100" y="910"/>
                </a:lnTo>
                <a:cubicBezTo>
                  <a:pt x="1112" y="910"/>
                  <a:pt x="1121" y="901"/>
                  <a:pt x="1121" y="889"/>
                </a:cubicBezTo>
                <a:lnTo>
                  <a:pt x="1121" y="21"/>
                </a:lnTo>
                <a:cubicBezTo>
                  <a:pt x="1121" y="9"/>
                  <a:pt x="1112" y="0"/>
                  <a:pt x="1100" y="0"/>
                </a:cubicBezTo>
                <a:lnTo>
                  <a:pt x="25" y="0"/>
                </a:lnTo>
                <a:cubicBezTo>
                  <a:pt x="13" y="0"/>
                  <a:pt x="4" y="9"/>
                  <a:pt x="4" y="21"/>
                </a:cubicBezTo>
                <a:lnTo>
                  <a:pt x="4" y="889"/>
                </a:lnTo>
                <a:cubicBezTo>
                  <a:pt x="4" y="901"/>
                  <a:pt x="13" y="910"/>
                  <a:pt x="25" y="910"/>
                </a:cubicBezTo>
                <a:lnTo>
                  <a:pt x="346" y="910"/>
                </a:lnTo>
                <a:lnTo>
                  <a:pt x="346" y="959"/>
                </a:lnTo>
                <a:lnTo>
                  <a:pt x="159" y="959"/>
                </a:lnTo>
                <a:lnTo>
                  <a:pt x="159" y="1043"/>
                </a:lnTo>
                <a:lnTo>
                  <a:pt x="0" y="1158"/>
                </a:lnTo>
                <a:lnTo>
                  <a:pt x="0" y="1250"/>
                </a:lnTo>
                <a:lnTo>
                  <a:pt x="1129" y="1250"/>
                </a:lnTo>
                <a:lnTo>
                  <a:pt x="1129" y="1158"/>
                </a:lnTo>
                <a:lnTo>
                  <a:pt x="970" y="1043"/>
                </a:lnTo>
                <a:close/>
                <a:moveTo>
                  <a:pt x="80" y="828"/>
                </a:moveTo>
                <a:lnTo>
                  <a:pt x="80" y="76"/>
                </a:lnTo>
                <a:cubicBezTo>
                  <a:pt x="80" y="66"/>
                  <a:pt x="87" y="58"/>
                  <a:pt x="97" y="58"/>
                </a:cubicBezTo>
                <a:lnTo>
                  <a:pt x="1024" y="58"/>
                </a:lnTo>
                <a:cubicBezTo>
                  <a:pt x="1034" y="58"/>
                  <a:pt x="1042" y="66"/>
                  <a:pt x="1042" y="76"/>
                </a:cubicBezTo>
                <a:lnTo>
                  <a:pt x="1042" y="828"/>
                </a:lnTo>
                <a:cubicBezTo>
                  <a:pt x="1042" y="838"/>
                  <a:pt x="1034" y="846"/>
                  <a:pt x="1024" y="846"/>
                </a:cubicBezTo>
                <a:lnTo>
                  <a:pt x="97" y="846"/>
                </a:lnTo>
                <a:cubicBezTo>
                  <a:pt x="87" y="846"/>
                  <a:pt x="80" y="838"/>
                  <a:pt x="80" y="828"/>
                </a:cubicBezTo>
                <a:close/>
                <a:moveTo>
                  <a:pt x="56" y="1153"/>
                </a:moveTo>
                <a:lnTo>
                  <a:pt x="199" y="1051"/>
                </a:lnTo>
                <a:lnTo>
                  <a:pt x="930" y="1051"/>
                </a:lnTo>
                <a:lnTo>
                  <a:pt x="1073" y="1153"/>
                </a:lnTo>
                <a:lnTo>
                  <a:pt x="56" y="1153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89000" tIns="94500" rIns="189000" bIns="94500" numCol="1" anchor="t" anchorCtr="0" compatLnSpc="1">
            <a:prstTxWarp prst="textNoShape">
              <a:avLst/>
            </a:prstTxWarp>
          </a:bodyPr>
          <a:lstStyle/>
          <a:p>
            <a:pPr defTabSz="1889973">
              <a:defRPr/>
            </a:pPr>
            <a:endParaRPr lang="fr-FR" sz="3720" kern="0">
              <a:solidFill>
                <a:sysClr val="windowText" lastClr="000000"/>
              </a:solidFill>
            </a:endParaRPr>
          </a:p>
        </p:txBody>
      </p:sp>
      <p:sp>
        <p:nvSpPr>
          <p:cNvPr id="128" name="Rectangle 36"/>
          <p:cNvSpPr/>
          <p:nvPr/>
        </p:nvSpPr>
        <p:spPr>
          <a:xfrm flipH="1">
            <a:off x="3052012" y="10291277"/>
            <a:ext cx="3770732" cy="14665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88188" rtlCol="0" anchor="ctr"/>
          <a:lstStyle/>
          <a:p>
            <a:pPr marL="590617" indent="-590617" defTabSz="1889973">
              <a:buFont typeface="Arial" panose="020B0604020202020204" pitchFamily="34" charset="0"/>
              <a:buChar char="•"/>
              <a:defRPr/>
            </a:pPr>
            <a:r>
              <a:rPr lang="en-US" sz="3720" kern="0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29" name="Rectangle 51"/>
          <p:cNvSpPr/>
          <p:nvPr/>
        </p:nvSpPr>
        <p:spPr>
          <a:xfrm>
            <a:off x="3052010" y="10294336"/>
            <a:ext cx="1488188" cy="1466590"/>
          </a:xfrm>
          <a:prstGeom prst="rect">
            <a:avLst/>
          </a:prstGeom>
          <a:solidFill>
            <a:srgbClr val="000000">
              <a:alpha val="1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89973">
              <a:defRPr/>
            </a:pPr>
            <a:endParaRPr lang="en-US" sz="3720" kern="0" dirty="0">
              <a:solidFill>
                <a:schemeClr val="bg1"/>
              </a:solidFill>
            </a:endParaRPr>
          </a:p>
        </p:txBody>
      </p:sp>
      <p:sp>
        <p:nvSpPr>
          <p:cNvPr id="146" name="POWER_USER_ID_ICONS_Computer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6560716" y="524024"/>
            <a:ext cx="564180" cy="408761"/>
          </a:xfrm>
          <a:custGeom>
            <a:avLst/>
            <a:gdLst>
              <a:gd name="T0" fmla="*/ 970 w 1129"/>
              <a:gd name="T1" fmla="*/ 1043 h 1250"/>
              <a:gd name="T2" fmla="*/ 970 w 1129"/>
              <a:gd name="T3" fmla="*/ 959 h 1250"/>
              <a:gd name="T4" fmla="*/ 783 w 1129"/>
              <a:gd name="T5" fmla="*/ 959 h 1250"/>
              <a:gd name="T6" fmla="*/ 783 w 1129"/>
              <a:gd name="T7" fmla="*/ 910 h 1250"/>
              <a:gd name="T8" fmla="*/ 1100 w 1129"/>
              <a:gd name="T9" fmla="*/ 910 h 1250"/>
              <a:gd name="T10" fmla="*/ 1121 w 1129"/>
              <a:gd name="T11" fmla="*/ 889 h 1250"/>
              <a:gd name="T12" fmla="*/ 1121 w 1129"/>
              <a:gd name="T13" fmla="*/ 21 h 1250"/>
              <a:gd name="T14" fmla="*/ 1100 w 1129"/>
              <a:gd name="T15" fmla="*/ 0 h 1250"/>
              <a:gd name="T16" fmla="*/ 25 w 1129"/>
              <a:gd name="T17" fmla="*/ 0 h 1250"/>
              <a:gd name="T18" fmla="*/ 4 w 1129"/>
              <a:gd name="T19" fmla="*/ 21 h 1250"/>
              <a:gd name="T20" fmla="*/ 4 w 1129"/>
              <a:gd name="T21" fmla="*/ 889 h 1250"/>
              <a:gd name="T22" fmla="*/ 25 w 1129"/>
              <a:gd name="T23" fmla="*/ 910 h 1250"/>
              <a:gd name="T24" fmla="*/ 346 w 1129"/>
              <a:gd name="T25" fmla="*/ 910 h 1250"/>
              <a:gd name="T26" fmla="*/ 346 w 1129"/>
              <a:gd name="T27" fmla="*/ 959 h 1250"/>
              <a:gd name="T28" fmla="*/ 159 w 1129"/>
              <a:gd name="T29" fmla="*/ 959 h 1250"/>
              <a:gd name="T30" fmla="*/ 159 w 1129"/>
              <a:gd name="T31" fmla="*/ 1043 h 1250"/>
              <a:gd name="T32" fmla="*/ 0 w 1129"/>
              <a:gd name="T33" fmla="*/ 1158 h 1250"/>
              <a:gd name="T34" fmla="*/ 0 w 1129"/>
              <a:gd name="T35" fmla="*/ 1250 h 1250"/>
              <a:gd name="T36" fmla="*/ 1129 w 1129"/>
              <a:gd name="T37" fmla="*/ 1250 h 1250"/>
              <a:gd name="T38" fmla="*/ 1129 w 1129"/>
              <a:gd name="T39" fmla="*/ 1158 h 1250"/>
              <a:gd name="T40" fmla="*/ 970 w 1129"/>
              <a:gd name="T41" fmla="*/ 1043 h 1250"/>
              <a:gd name="T42" fmla="*/ 80 w 1129"/>
              <a:gd name="T43" fmla="*/ 828 h 1250"/>
              <a:gd name="T44" fmla="*/ 80 w 1129"/>
              <a:gd name="T45" fmla="*/ 76 h 1250"/>
              <a:gd name="T46" fmla="*/ 97 w 1129"/>
              <a:gd name="T47" fmla="*/ 58 h 1250"/>
              <a:gd name="T48" fmla="*/ 1024 w 1129"/>
              <a:gd name="T49" fmla="*/ 58 h 1250"/>
              <a:gd name="T50" fmla="*/ 1042 w 1129"/>
              <a:gd name="T51" fmla="*/ 76 h 1250"/>
              <a:gd name="T52" fmla="*/ 1042 w 1129"/>
              <a:gd name="T53" fmla="*/ 828 h 1250"/>
              <a:gd name="T54" fmla="*/ 1024 w 1129"/>
              <a:gd name="T55" fmla="*/ 846 h 1250"/>
              <a:gd name="T56" fmla="*/ 97 w 1129"/>
              <a:gd name="T57" fmla="*/ 846 h 1250"/>
              <a:gd name="T58" fmla="*/ 80 w 1129"/>
              <a:gd name="T59" fmla="*/ 828 h 1250"/>
              <a:gd name="T60" fmla="*/ 56 w 1129"/>
              <a:gd name="T61" fmla="*/ 1153 h 1250"/>
              <a:gd name="T62" fmla="*/ 199 w 1129"/>
              <a:gd name="T63" fmla="*/ 1051 h 1250"/>
              <a:gd name="T64" fmla="*/ 930 w 1129"/>
              <a:gd name="T65" fmla="*/ 1051 h 1250"/>
              <a:gd name="T66" fmla="*/ 1073 w 1129"/>
              <a:gd name="T67" fmla="*/ 1153 h 1250"/>
              <a:gd name="T68" fmla="*/ 56 w 1129"/>
              <a:gd name="T69" fmla="*/ 1153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129" h="1250">
                <a:moveTo>
                  <a:pt x="970" y="1043"/>
                </a:moveTo>
                <a:lnTo>
                  <a:pt x="970" y="959"/>
                </a:lnTo>
                <a:lnTo>
                  <a:pt x="783" y="959"/>
                </a:lnTo>
                <a:lnTo>
                  <a:pt x="783" y="910"/>
                </a:lnTo>
                <a:lnTo>
                  <a:pt x="1100" y="910"/>
                </a:lnTo>
                <a:cubicBezTo>
                  <a:pt x="1112" y="910"/>
                  <a:pt x="1121" y="901"/>
                  <a:pt x="1121" y="889"/>
                </a:cubicBezTo>
                <a:lnTo>
                  <a:pt x="1121" y="21"/>
                </a:lnTo>
                <a:cubicBezTo>
                  <a:pt x="1121" y="9"/>
                  <a:pt x="1112" y="0"/>
                  <a:pt x="1100" y="0"/>
                </a:cubicBezTo>
                <a:lnTo>
                  <a:pt x="25" y="0"/>
                </a:lnTo>
                <a:cubicBezTo>
                  <a:pt x="13" y="0"/>
                  <a:pt x="4" y="9"/>
                  <a:pt x="4" y="21"/>
                </a:cubicBezTo>
                <a:lnTo>
                  <a:pt x="4" y="889"/>
                </a:lnTo>
                <a:cubicBezTo>
                  <a:pt x="4" y="901"/>
                  <a:pt x="13" y="910"/>
                  <a:pt x="25" y="910"/>
                </a:cubicBezTo>
                <a:lnTo>
                  <a:pt x="346" y="910"/>
                </a:lnTo>
                <a:lnTo>
                  <a:pt x="346" y="959"/>
                </a:lnTo>
                <a:lnTo>
                  <a:pt x="159" y="959"/>
                </a:lnTo>
                <a:lnTo>
                  <a:pt x="159" y="1043"/>
                </a:lnTo>
                <a:lnTo>
                  <a:pt x="0" y="1158"/>
                </a:lnTo>
                <a:lnTo>
                  <a:pt x="0" y="1250"/>
                </a:lnTo>
                <a:lnTo>
                  <a:pt x="1129" y="1250"/>
                </a:lnTo>
                <a:lnTo>
                  <a:pt x="1129" y="1158"/>
                </a:lnTo>
                <a:lnTo>
                  <a:pt x="970" y="1043"/>
                </a:lnTo>
                <a:close/>
                <a:moveTo>
                  <a:pt x="80" y="828"/>
                </a:moveTo>
                <a:lnTo>
                  <a:pt x="80" y="76"/>
                </a:lnTo>
                <a:cubicBezTo>
                  <a:pt x="80" y="66"/>
                  <a:pt x="87" y="58"/>
                  <a:pt x="97" y="58"/>
                </a:cubicBezTo>
                <a:lnTo>
                  <a:pt x="1024" y="58"/>
                </a:lnTo>
                <a:cubicBezTo>
                  <a:pt x="1034" y="58"/>
                  <a:pt x="1042" y="66"/>
                  <a:pt x="1042" y="76"/>
                </a:cubicBezTo>
                <a:lnTo>
                  <a:pt x="1042" y="828"/>
                </a:lnTo>
                <a:cubicBezTo>
                  <a:pt x="1042" y="838"/>
                  <a:pt x="1034" y="846"/>
                  <a:pt x="1024" y="846"/>
                </a:cubicBezTo>
                <a:lnTo>
                  <a:pt x="97" y="846"/>
                </a:lnTo>
                <a:cubicBezTo>
                  <a:pt x="87" y="846"/>
                  <a:pt x="80" y="838"/>
                  <a:pt x="80" y="828"/>
                </a:cubicBezTo>
                <a:close/>
                <a:moveTo>
                  <a:pt x="56" y="1153"/>
                </a:moveTo>
                <a:lnTo>
                  <a:pt x="199" y="1051"/>
                </a:lnTo>
                <a:lnTo>
                  <a:pt x="930" y="1051"/>
                </a:lnTo>
                <a:lnTo>
                  <a:pt x="1073" y="1153"/>
                </a:lnTo>
                <a:lnTo>
                  <a:pt x="56" y="1153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89000" tIns="94500" rIns="189000" bIns="94500" numCol="1" anchor="t" anchorCtr="0" compatLnSpc="1">
            <a:prstTxWarp prst="textNoShape">
              <a:avLst/>
            </a:prstTxWarp>
          </a:bodyPr>
          <a:lstStyle/>
          <a:p>
            <a:pPr defTabSz="1889973">
              <a:defRPr/>
            </a:pPr>
            <a:endParaRPr lang="fr-FR" sz="3720" kern="0">
              <a:solidFill>
                <a:sysClr val="windowText" lastClr="000000"/>
              </a:solidFill>
            </a:endParaRPr>
          </a:p>
        </p:txBody>
      </p:sp>
      <p:sp>
        <p:nvSpPr>
          <p:cNvPr id="199" name="POWER_USER_ID_ICONS_Computer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6534060" y="1248623"/>
            <a:ext cx="564180" cy="408761"/>
          </a:xfrm>
          <a:custGeom>
            <a:avLst/>
            <a:gdLst>
              <a:gd name="T0" fmla="*/ 970 w 1129"/>
              <a:gd name="T1" fmla="*/ 1043 h 1250"/>
              <a:gd name="T2" fmla="*/ 970 w 1129"/>
              <a:gd name="T3" fmla="*/ 959 h 1250"/>
              <a:gd name="T4" fmla="*/ 783 w 1129"/>
              <a:gd name="T5" fmla="*/ 959 h 1250"/>
              <a:gd name="T6" fmla="*/ 783 w 1129"/>
              <a:gd name="T7" fmla="*/ 910 h 1250"/>
              <a:gd name="T8" fmla="*/ 1100 w 1129"/>
              <a:gd name="T9" fmla="*/ 910 h 1250"/>
              <a:gd name="T10" fmla="*/ 1121 w 1129"/>
              <a:gd name="T11" fmla="*/ 889 h 1250"/>
              <a:gd name="T12" fmla="*/ 1121 w 1129"/>
              <a:gd name="T13" fmla="*/ 21 h 1250"/>
              <a:gd name="T14" fmla="*/ 1100 w 1129"/>
              <a:gd name="T15" fmla="*/ 0 h 1250"/>
              <a:gd name="T16" fmla="*/ 25 w 1129"/>
              <a:gd name="T17" fmla="*/ 0 h 1250"/>
              <a:gd name="T18" fmla="*/ 4 w 1129"/>
              <a:gd name="T19" fmla="*/ 21 h 1250"/>
              <a:gd name="T20" fmla="*/ 4 w 1129"/>
              <a:gd name="T21" fmla="*/ 889 h 1250"/>
              <a:gd name="T22" fmla="*/ 25 w 1129"/>
              <a:gd name="T23" fmla="*/ 910 h 1250"/>
              <a:gd name="T24" fmla="*/ 346 w 1129"/>
              <a:gd name="T25" fmla="*/ 910 h 1250"/>
              <a:gd name="T26" fmla="*/ 346 w 1129"/>
              <a:gd name="T27" fmla="*/ 959 h 1250"/>
              <a:gd name="T28" fmla="*/ 159 w 1129"/>
              <a:gd name="T29" fmla="*/ 959 h 1250"/>
              <a:gd name="T30" fmla="*/ 159 w 1129"/>
              <a:gd name="T31" fmla="*/ 1043 h 1250"/>
              <a:gd name="T32" fmla="*/ 0 w 1129"/>
              <a:gd name="T33" fmla="*/ 1158 h 1250"/>
              <a:gd name="T34" fmla="*/ 0 w 1129"/>
              <a:gd name="T35" fmla="*/ 1250 h 1250"/>
              <a:gd name="T36" fmla="*/ 1129 w 1129"/>
              <a:gd name="T37" fmla="*/ 1250 h 1250"/>
              <a:gd name="T38" fmla="*/ 1129 w 1129"/>
              <a:gd name="T39" fmla="*/ 1158 h 1250"/>
              <a:gd name="T40" fmla="*/ 970 w 1129"/>
              <a:gd name="T41" fmla="*/ 1043 h 1250"/>
              <a:gd name="T42" fmla="*/ 80 w 1129"/>
              <a:gd name="T43" fmla="*/ 828 h 1250"/>
              <a:gd name="T44" fmla="*/ 80 w 1129"/>
              <a:gd name="T45" fmla="*/ 76 h 1250"/>
              <a:gd name="T46" fmla="*/ 97 w 1129"/>
              <a:gd name="T47" fmla="*/ 58 h 1250"/>
              <a:gd name="T48" fmla="*/ 1024 w 1129"/>
              <a:gd name="T49" fmla="*/ 58 h 1250"/>
              <a:gd name="T50" fmla="*/ 1042 w 1129"/>
              <a:gd name="T51" fmla="*/ 76 h 1250"/>
              <a:gd name="T52" fmla="*/ 1042 w 1129"/>
              <a:gd name="T53" fmla="*/ 828 h 1250"/>
              <a:gd name="T54" fmla="*/ 1024 w 1129"/>
              <a:gd name="T55" fmla="*/ 846 h 1250"/>
              <a:gd name="T56" fmla="*/ 97 w 1129"/>
              <a:gd name="T57" fmla="*/ 846 h 1250"/>
              <a:gd name="T58" fmla="*/ 80 w 1129"/>
              <a:gd name="T59" fmla="*/ 828 h 1250"/>
              <a:gd name="T60" fmla="*/ 56 w 1129"/>
              <a:gd name="T61" fmla="*/ 1153 h 1250"/>
              <a:gd name="T62" fmla="*/ 199 w 1129"/>
              <a:gd name="T63" fmla="*/ 1051 h 1250"/>
              <a:gd name="T64" fmla="*/ 930 w 1129"/>
              <a:gd name="T65" fmla="*/ 1051 h 1250"/>
              <a:gd name="T66" fmla="*/ 1073 w 1129"/>
              <a:gd name="T67" fmla="*/ 1153 h 1250"/>
              <a:gd name="T68" fmla="*/ 56 w 1129"/>
              <a:gd name="T69" fmla="*/ 1153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129" h="1250">
                <a:moveTo>
                  <a:pt x="970" y="1043"/>
                </a:moveTo>
                <a:lnTo>
                  <a:pt x="970" y="959"/>
                </a:lnTo>
                <a:lnTo>
                  <a:pt x="783" y="959"/>
                </a:lnTo>
                <a:lnTo>
                  <a:pt x="783" y="910"/>
                </a:lnTo>
                <a:lnTo>
                  <a:pt x="1100" y="910"/>
                </a:lnTo>
                <a:cubicBezTo>
                  <a:pt x="1112" y="910"/>
                  <a:pt x="1121" y="901"/>
                  <a:pt x="1121" y="889"/>
                </a:cubicBezTo>
                <a:lnTo>
                  <a:pt x="1121" y="21"/>
                </a:lnTo>
                <a:cubicBezTo>
                  <a:pt x="1121" y="9"/>
                  <a:pt x="1112" y="0"/>
                  <a:pt x="1100" y="0"/>
                </a:cubicBezTo>
                <a:lnTo>
                  <a:pt x="25" y="0"/>
                </a:lnTo>
                <a:cubicBezTo>
                  <a:pt x="13" y="0"/>
                  <a:pt x="4" y="9"/>
                  <a:pt x="4" y="21"/>
                </a:cubicBezTo>
                <a:lnTo>
                  <a:pt x="4" y="889"/>
                </a:lnTo>
                <a:cubicBezTo>
                  <a:pt x="4" y="901"/>
                  <a:pt x="13" y="910"/>
                  <a:pt x="25" y="910"/>
                </a:cubicBezTo>
                <a:lnTo>
                  <a:pt x="346" y="910"/>
                </a:lnTo>
                <a:lnTo>
                  <a:pt x="346" y="959"/>
                </a:lnTo>
                <a:lnTo>
                  <a:pt x="159" y="959"/>
                </a:lnTo>
                <a:lnTo>
                  <a:pt x="159" y="1043"/>
                </a:lnTo>
                <a:lnTo>
                  <a:pt x="0" y="1158"/>
                </a:lnTo>
                <a:lnTo>
                  <a:pt x="0" y="1250"/>
                </a:lnTo>
                <a:lnTo>
                  <a:pt x="1129" y="1250"/>
                </a:lnTo>
                <a:lnTo>
                  <a:pt x="1129" y="1158"/>
                </a:lnTo>
                <a:lnTo>
                  <a:pt x="970" y="1043"/>
                </a:lnTo>
                <a:close/>
                <a:moveTo>
                  <a:pt x="80" y="828"/>
                </a:moveTo>
                <a:lnTo>
                  <a:pt x="80" y="76"/>
                </a:lnTo>
                <a:cubicBezTo>
                  <a:pt x="80" y="66"/>
                  <a:pt x="87" y="58"/>
                  <a:pt x="97" y="58"/>
                </a:cubicBezTo>
                <a:lnTo>
                  <a:pt x="1024" y="58"/>
                </a:lnTo>
                <a:cubicBezTo>
                  <a:pt x="1034" y="58"/>
                  <a:pt x="1042" y="66"/>
                  <a:pt x="1042" y="76"/>
                </a:cubicBezTo>
                <a:lnTo>
                  <a:pt x="1042" y="828"/>
                </a:lnTo>
                <a:cubicBezTo>
                  <a:pt x="1042" y="838"/>
                  <a:pt x="1034" y="846"/>
                  <a:pt x="1024" y="846"/>
                </a:cubicBezTo>
                <a:lnTo>
                  <a:pt x="97" y="846"/>
                </a:lnTo>
                <a:cubicBezTo>
                  <a:pt x="87" y="846"/>
                  <a:pt x="80" y="838"/>
                  <a:pt x="80" y="828"/>
                </a:cubicBezTo>
                <a:close/>
                <a:moveTo>
                  <a:pt x="56" y="1153"/>
                </a:moveTo>
                <a:lnTo>
                  <a:pt x="199" y="1051"/>
                </a:lnTo>
                <a:lnTo>
                  <a:pt x="930" y="1051"/>
                </a:lnTo>
                <a:lnTo>
                  <a:pt x="1073" y="1153"/>
                </a:lnTo>
                <a:lnTo>
                  <a:pt x="56" y="1153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89000" tIns="94500" rIns="189000" bIns="94500" numCol="1" anchor="t" anchorCtr="0" compatLnSpc="1">
            <a:prstTxWarp prst="textNoShape">
              <a:avLst/>
            </a:prstTxWarp>
          </a:bodyPr>
          <a:lstStyle/>
          <a:p>
            <a:pPr defTabSz="1889973">
              <a:defRPr/>
            </a:pPr>
            <a:endParaRPr lang="fr-FR" sz="3720" kern="0">
              <a:solidFill>
                <a:sysClr val="windowText" lastClr="000000"/>
              </a:solidFill>
            </a:endParaRPr>
          </a:p>
        </p:txBody>
      </p:sp>
      <p:grpSp>
        <p:nvGrpSpPr>
          <p:cNvPr id="301" name="קבוצה 300"/>
          <p:cNvGrpSpPr/>
          <p:nvPr/>
        </p:nvGrpSpPr>
        <p:grpSpPr>
          <a:xfrm>
            <a:off x="363965" y="237583"/>
            <a:ext cx="6884628" cy="799514"/>
            <a:chOff x="364374" y="237583"/>
            <a:chExt cx="6884628" cy="799514"/>
          </a:xfrm>
        </p:grpSpPr>
        <p:grpSp>
          <p:nvGrpSpPr>
            <p:cNvPr id="270" name="קבוצה 269"/>
            <p:cNvGrpSpPr/>
            <p:nvPr/>
          </p:nvGrpSpPr>
          <p:grpSpPr>
            <a:xfrm>
              <a:off x="508000" y="237583"/>
              <a:ext cx="6741002" cy="799514"/>
              <a:chOff x="409188" y="227015"/>
              <a:chExt cx="6850761" cy="799514"/>
            </a:xfrm>
          </p:grpSpPr>
          <p:sp>
            <p:nvSpPr>
              <p:cNvPr id="147" name="Rectangle 36"/>
              <p:cNvSpPr/>
              <p:nvPr/>
            </p:nvSpPr>
            <p:spPr>
              <a:xfrm flipH="1">
                <a:off x="5707638" y="445215"/>
                <a:ext cx="1523395" cy="561473"/>
              </a:xfrm>
              <a:prstGeom prst="rect">
                <a:avLst/>
              </a:prstGeom>
              <a:solidFill>
                <a:srgbClr val="DAD3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88188" rtlCol="0" anchor="ctr"/>
              <a:lstStyle/>
              <a:p>
                <a:pPr marL="590617" indent="-590617" defTabSz="1889973">
                  <a:buFont typeface="Arial" panose="020B0604020202020204" pitchFamily="34" charset="0"/>
                  <a:buChar char="•"/>
                  <a:defRPr/>
                </a:pPr>
                <a:endParaRPr lang="en-US" sz="3720" kern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8" name="Rectangle 51"/>
              <p:cNvSpPr/>
              <p:nvPr/>
            </p:nvSpPr>
            <p:spPr>
              <a:xfrm>
                <a:off x="6415980" y="438538"/>
                <a:ext cx="843969" cy="564901"/>
              </a:xfrm>
              <a:prstGeom prst="rect">
                <a:avLst/>
              </a:prstGeom>
              <a:solidFill>
                <a:srgbClr val="B1ABB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889973">
                  <a:defRPr/>
                </a:pPr>
                <a:endParaRPr lang="en-US" sz="3720" kern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9" name="Rectangle 60"/>
              <p:cNvSpPr/>
              <p:nvPr/>
            </p:nvSpPr>
            <p:spPr>
              <a:xfrm flipH="1">
                <a:off x="409188" y="227015"/>
                <a:ext cx="5618143" cy="592195"/>
              </a:xfrm>
              <a:prstGeom prst="rect">
                <a:avLst/>
              </a:prstGeom>
              <a:solidFill>
                <a:srgbClr val="DAD3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3750" tIns="78750" rIns="183750" bIns="78750" rtlCol="0" anchor="ctr"/>
              <a:lstStyle/>
              <a:p>
                <a:pPr marL="266700" indent="-266700" algn="r" defTabSz="1889973" rtl="1">
                  <a:buFont typeface="Arial" panose="020B0604020202020204" pitchFamily="34" charset="0"/>
                  <a:buChar char="•"/>
                  <a:defRPr/>
                </a:pPr>
                <a:r>
                  <a:rPr lang="he-IL" sz="3200" b="1" dirty="0">
                    <a:ln>
                      <a:solidFill>
                        <a:srgbClr val="30124F"/>
                      </a:solidFill>
                    </a:ln>
                    <a:solidFill>
                      <a:srgbClr val="E0D7E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  <a:cs typeface="Calibri" panose="020F0502020204030204" pitchFamily="34" charset="0"/>
                  </a:rPr>
                  <a:t>תיאום ציפיות </a:t>
                </a:r>
                <a:r>
                  <a:rPr lang="he-IL" sz="3200" b="1" dirty="0" smtClean="0">
                    <a:ln>
                      <a:solidFill>
                        <a:srgbClr val="30124F"/>
                      </a:solidFill>
                    </a:ln>
                    <a:solidFill>
                      <a:srgbClr val="E0D7E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  <a:cs typeface="Calibri" panose="020F0502020204030204" pitchFamily="34" charset="0"/>
                  </a:rPr>
                  <a:t>והכשרה</a:t>
                </a:r>
                <a:endParaRPr lang="he-IL" sz="2800" dirty="0">
                  <a:ln>
                    <a:solidFill>
                      <a:srgbClr val="30124F"/>
                    </a:solidFill>
                  </a:ln>
                  <a:solidFill>
                    <a:srgbClr val="E0D7E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0" name="Freeform 61"/>
              <p:cNvSpPr/>
              <p:nvPr/>
            </p:nvSpPr>
            <p:spPr>
              <a:xfrm flipH="1">
                <a:off x="5713796" y="814116"/>
                <a:ext cx="361804" cy="212413"/>
              </a:xfrm>
              <a:custGeom>
                <a:avLst/>
                <a:gdLst>
                  <a:gd name="connsiteX0" fmla="*/ 0 w 278296"/>
                  <a:gd name="connsiteY0" fmla="*/ 0 h 341906"/>
                  <a:gd name="connsiteX1" fmla="*/ 278296 w 278296"/>
                  <a:gd name="connsiteY1" fmla="*/ 341906 h 341906"/>
                  <a:gd name="connsiteX2" fmla="*/ 278296 w 278296"/>
                  <a:gd name="connsiteY2" fmla="*/ 7951 h 341906"/>
                  <a:gd name="connsiteX3" fmla="*/ 0 w 278296"/>
                  <a:gd name="connsiteY3" fmla="*/ 0 h 341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296" h="341906">
                    <a:moveTo>
                      <a:pt x="0" y="0"/>
                    </a:moveTo>
                    <a:lnTo>
                      <a:pt x="278296" y="341906"/>
                    </a:lnTo>
                    <a:lnTo>
                      <a:pt x="278296" y="79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1ABB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889973">
                  <a:defRPr/>
                </a:pPr>
                <a:endParaRPr lang="en-US" sz="3720" kern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4" name="מלבן מעוגל 293"/>
            <p:cNvSpPr/>
            <p:nvPr/>
          </p:nvSpPr>
          <p:spPr>
            <a:xfrm>
              <a:off x="364374" y="237583"/>
              <a:ext cx="770158" cy="587101"/>
            </a:xfrm>
            <a:prstGeom prst="roundRect">
              <a:avLst/>
            </a:prstGeom>
            <a:solidFill>
              <a:srgbClr val="DAD3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grpSp>
        <p:nvGrpSpPr>
          <p:cNvPr id="302" name="קבוצה 301"/>
          <p:cNvGrpSpPr/>
          <p:nvPr/>
        </p:nvGrpSpPr>
        <p:grpSpPr>
          <a:xfrm>
            <a:off x="345383" y="944128"/>
            <a:ext cx="6897125" cy="812390"/>
            <a:chOff x="345383" y="944128"/>
            <a:chExt cx="6897125" cy="812390"/>
          </a:xfrm>
        </p:grpSpPr>
        <p:grpSp>
          <p:nvGrpSpPr>
            <p:cNvPr id="283" name="קבוצה 282"/>
            <p:cNvGrpSpPr/>
            <p:nvPr/>
          </p:nvGrpSpPr>
          <p:grpSpPr>
            <a:xfrm>
              <a:off x="508000" y="944128"/>
              <a:ext cx="6734508" cy="812390"/>
              <a:chOff x="398242" y="944128"/>
              <a:chExt cx="6844266" cy="812390"/>
            </a:xfrm>
          </p:grpSpPr>
          <p:grpSp>
            <p:nvGrpSpPr>
              <p:cNvPr id="272" name="קבוצה 271"/>
              <p:cNvGrpSpPr/>
              <p:nvPr/>
            </p:nvGrpSpPr>
            <p:grpSpPr>
              <a:xfrm>
                <a:off x="398242" y="944128"/>
                <a:ext cx="6844266" cy="807599"/>
                <a:chOff x="425927" y="961475"/>
                <a:chExt cx="6819641" cy="807599"/>
              </a:xfrm>
            </p:grpSpPr>
            <p:sp>
              <p:nvSpPr>
                <p:cNvPr id="195" name="Rectangle 36"/>
                <p:cNvSpPr/>
                <p:nvPr/>
              </p:nvSpPr>
              <p:spPr>
                <a:xfrm flipH="1">
                  <a:off x="5688113" y="1204093"/>
                  <a:ext cx="1557455" cy="561473"/>
                </a:xfrm>
                <a:prstGeom prst="rect">
                  <a:avLst/>
                </a:prstGeom>
                <a:solidFill>
                  <a:srgbClr val="A198A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88188" rtlCol="0" anchor="ctr"/>
                <a:lstStyle/>
                <a:p>
                  <a:pPr marL="590617" indent="-590617" defTabSz="1889973">
                    <a:buFont typeface="Arial" panose="020B0604020202020204" pitchFamily="34" charset="0"/>
                    <a:buChar char="•"/>
                    <a:defRPr/>
                  </a:pPr>
                  <a:endParaRPr lang="en-US" sz="3720" kern="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96" name="Rectangle 51"/>
                <p:cNvSpPr/>
                <p:nvPr/>
              </p:nvSpPr>
              <p:spPr>
                <a:xfrm>
                  <a:off x="6386577" y="1197199"/>
                  <a:ext cx="845063" cy="571875"/>
                </a:xfrm>
                <a:prstGeom prst="rect">
                  <a:avLst/>
                </a:prstGeom>
                <a:solidFill>
                  <a:srgbClr val="000000">
                    <a:alpha val="18824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889973">
                    <a:defRPr/>
                  </a:pPr>
                  <a:endParaRPr lang="en-US" sz="3720" kern="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97" name="Rectangle 60"/>
                <p:cNvSpPr/>
                <p:nvPr/>
              </p:nvSpPr>
              <p:spPr>
                <a:xfrm flipH="1">
                  <a:off x="425927" y="961475"/>
                  <a:ext cx="5620402" cy="592195"/>
                </a:xfrm>
                <a:prstGeom prst="rect">
                  <a:avLst/>
                </a:prstGeom>
                <a:solidFill>
                  <a:srgbClr val="A198A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83750" tIns="78750" rIns="183750" bIns="78750" rtlCol="0" anchor="ctr"/>
                <a:lstStyle/>
                <a:p>
                  <a:pPr marL="266700" indent="-266700" algn="r" defTabSz="1889973" rtl="1">
                    <a:buFont typeface="Arial" panose="020B0604020202020204" pitchFamily="34" charset="0"/>
                    <a:buChar char="•"/>
                    <a:defRPr/>
                  </a:pPr>
                  <a:r>
                    <a:rPr lang="he-IL" sz="3200" b="1" dirty="0" smtClean="0">
                      <a:ln>
                        <a:solidFill>
                          <a:srgbClr val="30124F"/>
                        </a:solidFill>
                      </a:ln>
                      <a:solidFill>
                        <a:srgbClr val="E0D7E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Calibri" panose="020F0502020204030204" pitchFamily="34" charset="0"/>
                      <a:cs typeface="Calibri" panose="020F0502020204030204" pitchFamily="34" charset="0"/>
                    </a:rPr>
                    <a:t>מתן בחירה לסטודנטים</a:t>
                  </a:r>
                  <a:endParaRPr lang="he-IL" sz="2800" dirty="0">
                    <a:ln>
                      <a:solidFill>
                        <a:srgbClr val="30124F"/>
                      </a:solidFill>
                    </a:ln>
                    <a:solidFill>
                      <a:srgbClr val="E0D7E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282" name="Freeform 61"/>
              <p:cNvSpPr/>
              <p:nvPr/>
            </p:nvSpPr>
            <p:spPr>
              <a:xfrm flipH="1">
                <a:off x="5677175" y="1544105"/>
                <a:ext cx="361804" cy="212413"/>
              </a:xfrm>
              <a:custGeom>
                <a:avLst/>
                <a:gdLst>
                  <a:gd name="connsiteX0" fmla="*/ 0 w 278296"/>
                  <a:gd name="connsiteY0" fmla="*/ 0 h 341906"/>
                  <a:gd name="connsiteX1" fmla="*/ 278296 w 278296"/>
                  <a:gd name="connsiteY1" fmla="*/ 341906 h 341906"/>
                  <a:gd name="connsiteX2" fmla="*/ 278296 w 278296"/>
                  <a:gd name="connsiteY2" fmla="*/ 7951 h 341906"/>
                  <a:gd name="connsiteX3" fmla="*/ 0 w 278296"/>
                  <a:gd name="connsiteY3" fmla="*/ 0 h 341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296" h="341906">
                    <a:moveTo>
                      <a:pt x="0" y="0"/>
                    </a:moveTo>
                    <a:lnTo>
                      <a:pt x="278296" y="341906"/>
                    </a:lnTo>
                    <a:lnTo>
                      <a:pt x="278296" y="79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37B8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889973">
                  <a:defRPr/>
                </a:pPr>
                <a:endParaRPr lang="en-US" sz="3720" kern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6" name="מלבן מעוגל 295"/>
            <p:cNvSpPr/>
            <p:nvPr/>
          </p:nvSpPr>
          <p:spPr>
            <a:xfrm>
              <a:off x="345383" y="956403"/>
              <a:ext cx="770158" cy="579919"/>
            </a:xfrm>
            <a:prstGeom prst="roundRect">
              <a:avLst/>
            </a:prstGeom>
            <a:solidFill>
              <a:srgbClr val="A198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grpSp>
        <p:nvGrpSpPr>
          <p:cNvPr id="303" name="קבוצה 302"/>
          <p:cNvGrpSpPr/>
          <p:nvPr/>
        </p:nvGrpSpPr>
        <p:grpSpPr>
          <a:xfrm>
            <a:off x="347434" y="1675791"/>
            <a:ext cx="6887990" cy="815566"/>
            <a:chOff x="347434" y="1675791"/>
            <a:chExt cx="6887990" cy="815566"/>
          </a:xfrm>
        </p:grpSpPr>
        <p:grpSp>
          <p:nvGrpSpPr>
            <p:cNvPr id="285" name="קבוצה 284"/>
            <p:cNvGrpSpPr/>
            <p:nvPr/>
          </p:nvGrpSpPr>
          <p:grpSpPr>
            <a:xfrm>
              <a:off x="508000" y="1675825"/>
              <a:ext cx="6727424" cy="815532"/>
              <a:chOff x="398243" y="1608089"/>
              <a:chExt cx="6837181" cy="815532"/>
            </a:xfrm>
          </p:grpSpPr>
          <p:grpSp>
            <p:nvGrpSpPr>
              <p:cNvPr id="266" name="קבוצה 265"/>
              <p:cNvGrpSpPr/>
              <p:nvPr/>
            </p:nvGrpSpPr>
            <p:grpSpPr>
              <a:xfrm>
                <a:off x="398243" y="1608089"/>
                <a:ext cx="6837181" cy="815532"/>
                <a:chOff x="412117" y="1598356"/>
                <a:chExt cx="6837181" cy="815532"/>
              </a:xfrm>
            </p:grpSpPr>
            <p:sp>
              <p:nvSpPr>
                <p:cNvPr id="201" name="Rectangle 36"/>
                <p:cNvSpPr/>
                <p:nvPr/>
              </p:nvSpPr>
              <p:spPr>
                <a:xfrm flipH="1">
                  <a:off x="5678535" y="1852415"/>
                  <a:ext cx="1570763" cy="561473"/>
                </a:xfrm>
                <a:prstGeom prst="rect">
                  <a:avLst/>
                </a:prstGeom>
                <a:solidFill>
                  <a:srgbClr val="AE8AA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88188" rtlCol="0" anchor="ctr"/>
                <a:lstStyle/>
                <a:p>
                  <a:pPr marL="590617" indent="-590617" defTabSz="1889973">
                    <a:buFont typeface="Arial" panose="020B0604020202020204" pitchFamily="34" charset="0"/>
                    <a:buChar char="•"/>
                    <a:defRPr/>
                  </a:pPr>
                  <a:endParaRPr lang="en-US" sz="3720" kern="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02" name="Rectangle 51"/>
                <p:cNvSpPr/>
                <p:nvPr/>
              </p:nvSpPr>
              <p:spPr>
                <a:xfrm>
                  <a:off x="6391752" y="1835481"/>
                  <a:ext cx="843969" cy="576646"/>
                </a:xfrm>
                <a:prstGeom prst="rect">
                  <a:avLst/>
                </a:prstGeom>
                <a:solidFill>
                  <a:srgbClr val="8C6F8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889973">
                    <a:defRPr/>
                  </a:pPr>
                  <a:endParaRPr lang="en-US" sz="3720" kern="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03" name="Rectangle 60"/>
                <p:cNvSpPr/>
                <p:nvPr/>
              </p:nvSpPr>
              <p:spPr>
                <a:xfrm flipH="1">
                  <a:off x="412117" y="1598356"/>
                  <a:ext cx="5599329" cy="592195"/>
                </a:xfrm>
                <a:prstGeom prst="rect">
                  <a:avLst/>
                </a:prstGeom>
                <a:solidFill>
                  <a:srgbClr val="AD89A8">
                    <a:alpha val="98824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83750" tIns="78750" rIns="183750" bIns="78750" rtlCol="0" anchor="ctr"/>
                <a:lstStyle/>
                <a:p>
                  <a:pPr marL="266700" indent="-266700" algn="r" defTabSz="1889973" rtl="1">
                    <a:buFont typeface="Arial" panose="020B0604020202020204" pitchFamily="34" charset="0"/>
                    <a:buChar char="•"/>
                    <a:defRPr/>
                  </a:pPr>
                  <a:r>
                    <a:rPr lang="he-IL" sz="3200" b="1" dirty="0" smtClean="0">
                      <a:ln>
                        <a:solidFill>
                          <a:srgbClr val="30124F"/>
                        </a:solidFill>
                      </a:ln>
                      <a:solidFill>
                        <a:srgbClr val="E0D7E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Calibri" panose="020F0502020204030204" pitchFamily="34" charset="0"/>
                      <a:cs typeface="Calibri" panose="020F0502020204030204" pitchFamily="34" charset="0"/>
                    </a:rPr>
                    <a:t>העצמה</a:t>
                  </a:r>
                  <a:endParaRPr lang="he-IL" sz="2800" dirty="0">
                    <a:ln>
                      <a:solidFill>
                        <a:srgbClr val="30124F"/>
                      </a:solidFill>
                    </a:ln>
                    <a:solidFill>
                      <a:srgbClr val="E0D7E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284" name="Freeform 61"/>
              <p:cNvSpPr/>
              <p:nvPr/>
            </p:nvSpPr>
            <p:spPr>
              <a:xfrm flipH="1">
                <a:off x="5668473" y="2204675"/>
                <a:ext cx="361804" cy="212413"/>
              </a:xfrm>
              <a:custGeom>
                <a:avLst/>
                <a:gdLst>
                  <a:gd name="connsiteX0" fmla="*/ 0 w 278296"/>
                  <a:gd name="connsiteY0" fmla="*/ 0 h 341906"/>
                  <a:gd name="connsiteX1" fmla="*/ 278296 w 278296"/>
                  <a:gd name="connsiteY1" fmla="*/ 341906 h 341906"/>
                  <a:gd name="connsiteX2" fmla="*/ 278296 w 278296"/>
                  <a:gd name="connsiteY2" fmla="*/ 7951 h 341906"/>
                  <a:gd name="connsiteX3" fmla="*/ 0 w 278296"/>
                  <a:gd name="connsiteY3" fmla="*/ 0 h 341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296" h="341906">
                    <a:moveTo>
                      <a:pt x="0" y="0"/>
                    </a:moveTo>
                    <a:lnTo>
                      <a:pt x="278296" y="341906"/>
                    </a:lnTo>
                    <a:lnTo>
                      <a:pt x="278296" y="79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C6F8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889973">
                  <a:defRPr/>
                </a:pPr>
                <a:endParaRPr lang="en-US" sz="3720" kern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7" name="מלבן מעוגל 296"/>
            <p:cNvSpPr/>
            <p:nvPr/>
          </p:nvSpPr>
          <p:spPr>
            <a:xfrm>
              <a:off x="347434" y="1675791"/>
              <a:ext cx="770158" cy="596619"/>
            </a:xfrm>
            <a:prstGeom prst="roundRect">
              <a:avLst/>
            </a:prstGeom>
            <a:solidFill>
              <a:srgbClr val="AE8A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grpSp>
        <p:nvGrpSpPr>
          <p:cNvPr id="306" name="קבוצה 305"/>
          <p:cNvGrpSpPr/>
          <p:nvPr/>
        </p:nvGrpSpPr>
        <p:grpSpPr>
          <a:xfrm>
            <a:off x="340959" y="3943433"/>
            <a:ext cx="6903434" cy="808006"/>
            <a:chOff x="340959" y="3943433"/>
            <a:chExt cx="6903434" cy="808006"/>
          </a:xfrm>
        </p:grpSpPr>
        <p:grpSp>
          <p:nvGrpSpPr>
            <p:cNvPr id="291" name="קבוצה 290"/>
            <p:cNvGrpSpPr/>
            <p:nvPr/>
          </p:nvGrpSpPr>
          <p:grpSpPr>
            <a:xfrm>
              <a:off x="380350" y="3943750"/>
              <a:ext cx="6864043" cy="807689"/>
              <a:chOff x="380350" y="4053819"/>
              <a:chExt cx="6864043" cy="807689"/>
            </a:xfrm>
          </p:grpSpPr>
          <p:grpSp>
            <p:nvGrpSpPr>
              <p:cNvPr id="269" name="קבוצה 268"/>
              <p:cNvGrpSpPr/>
              <p:nvPr/>
            </p:nvGrpSpPr>
            <p:grpSpPr>
              <a:xfrm>
                <a:off x="380350" y="4053819"/>
                <a:ext cx="6864043" cy="807689"/>
                <a:chOff x="380350" y="4053819"/>
                <a:chExt cx="6864043" cy="807689"/>
              </a:xfrm>
            </p:grpSpPr>
            <p:sp>
              <p:nvSpPr>
                <p:cNvPr id="228" name="Rectangle 36"/>
                <p:cNvSpPr/>
                <p:nvPr/>
              </p:nvSpPr>
              <p:spPr>
                <a:xfrm flipH="1">
                  <a:off x="5707593" y="4300035"/>
                  <a:ext cx="1536800" cy="561473"/>
                </a:xfrm>
                <a:prstGeom prst="rect">
                  <a:avLst/>
                </a:prstGeom>
                <a:solidFill>
                  <a:srgbClr val="70358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88188" rtlCol="0" anchor="ctr"/>
                <a:lstStyle/>
                <a:p>
                  <a:pPr marL="590617" indent="-590617" defTabSz="1889973">
                    <a:buFont typeface="Arial" panose="020B0604020202020204" pitchFamily="34" charset="0"/>
                    <a:buChar char="•"/>
                    <a:defRPr/>
                  </a:pPr>
                  <a:endParaRPr lang="en-US" sz="3720" kern="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29" name="Rectangle 51"/>
                <p:cNvSpPr/>
                <p:nvPr/>
              </p:nvSpPr>
              <p:spPr>
                <a:xfrm>
                  <a:off x="6379952" y="4300035"/>
                  <a:ext cx="850754" cy="561473"/>
                </a:xfrm>
                <a:prstGeom prst="rect">
                  <a:avLst/>
                </a:prstGeom>
                <a:solidFill>
                  <a:srgbClr val="451A7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889973">
                    <a:defRPr/>
                  </a:pPr>
                  <a:endParaRPr lang="en-US" sz="3720" kern="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30" name="Rectangle 60"/>
                <p:cNvSpPr/>
                <p:nvPr/>
              </p:nvSpPr>
              <p:spPr>
                <a:xfrm flipH="1">
                  <a:off x="380350" y="4053819"/>
                  <a:ext cx="5647455" cy="592195"/>
                </a:xfrm>
                <a:prstGeom prst="rect">
                  <a:avLst/>
                </a:prstGeom>
                <a:solidFill>
                  <a:srgbClr val="70358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83750" tIns="78750" rIns="183750" bIns="78750" rtlCol="0" anchor="ctr"/>
                <a:lstStyle/>
                <a:p>
                  <a:pPr marL="266700" indent="-266700" algn="r" defTabSz="1889973" rtl="1">
                    <a:buFont typeface="Arial" panose="020B0604020202020204" pitchFamily="34" charset="0"/>
                    <a:buChar char="•"/>
                  </a:pPr>
                  <a:r>
                    <a:rPr lang="he-IL" sz="3200" b="1" dirty="0" smtClean="0">
                      <a:ln>
                        <a:solidFill>
                          <a:srgbClr val="30124F"/>
                        </a:solidFill>
                      </a:ln>
                      <a:solidFill>
                        <a:srgbClr val="E0D7E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Calibri" panose="020F0502020204030204" pitchFamily="34" charset="0"/>
                      <a:cs typeface="Calibri" panose="020F0502020204030204" pitchFamily="34" charset="0"/>
                    </a:rPr>
                    <a:t>למידה מהצלחות ומכישלונות</a:t>
                  </a:r>
                  <a:endParaRPr lang="he-IL" sz="3200" b="1" dirty="0">
                    <a:ln>
                      <a:solidFill>
                        <a:srgbClr val="30124F"/>
                      </a:solidFill>
                    </a:ln>
                    <a:solidFill>
                      <a:srgbClr val="E0D7E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290" name="Freeform 61"/>
              <p:cNvSpPr/>
              <p:nvPr/>
            </p:nvSpPr>
            <p:spPr>
              <a:xfrm flipH="1">
                <a:off x="5702849" y="4634699"/>
                <a:ext cx="361804" cy="212413"/>
              </a:xfrm>
              <a:custGeom>
                <a:avLst/>
                <a:gdLst>
                  <a:gd name="connsiteX0" fmla="*/ 0 w 278296"/>
                  <a:gd name="connsiteY0" fmla="*/ 0 h 341906"/>
                  <a:gd name="connsiteX1" fmla="*/ 278296 w 278296"/>
                  <a:gd name="connsiteY1" fmla="*/ 341906 h 341906"/>
                  <a:gd name="connsiteX2" fmla="*/ 278296 w 278296"/>
                  <a:gd name="connsiteY2" fmla="*/ 7951 h 341906"/>
                  <a:gd name="connsiteX3" fmla="*/ 0 w 278296"/>
                  <a:gd name="connsiteY3" fmla="*/ 0 h 341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296" h="341906">
                    <a:moveTo>
                      <a:pt x="0" y="0"/>
                    </a:moveTo>
                    <a:lnTo>
                      <a:pt x="278296" y="341906"/>
                    </a:lnTo>
                    <a:lnTo>
                      <a:pt x="278296" y="79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1A7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889973">
                  <a:defRPr/>
                </a:pPr>
                <a:endParaRPr lang="en-US" sz="3720" kern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00" name="מלבן מעוגל 299"/>
            <p:cNvSpPr/>
            <p:nvPr/>
          </p:nvSpPr>
          <p:spPr>
            <a:xfrm>
              <a:off x="340959" y="3943433"/>
              <a:ext cx="770158" cy="596619"/>
            </a:xfrm>
            <a:prstGeom prst="roundRect">
              <a:avLst/>
            </a:prstGeom>
            <a:solidFill>
              <a:srgbClr val="7035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grpSp>
        <p:nvGrpSpPr>
          <p:cNvPr id="304" name="קבוצה 303"/>
          <p:cNvGrpSpPr/>
          <p:nvPr/>
        </p:nvGrpSpPr>
        <p:grpSpPr>
          <a:xfrm>
            <a:off x="345383" y="2419231"/>
            <a:ext cx="6903619" cy="826176"/>
            <a:chOff x="345383" y="2419231"/>
            <a:chExt cx="6903619" cy="826176"/>
          </a:xfrm>
        </p:grpSpPr>
        <p:sp>
          <p:nvSpPr>
            <p:cNvPr id="298" name="מלבן מעוגל 297"/>
            <p:cNvSpPr/>
            <p:nvPr/>
          </p:nvSpPr>
          <p:spPr>
            <a:xfrm>
              <a:off x="345383" y="2419231"/>
              <a:ext cx="770158" cy="593750"/>
            </a:xfrm>
            <a:prstGeom prst="roundRect">
              <a:avLst/>
            </a:prstGeom>
            <a:solidFill>
              <a:srgbClr val="705E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grpSp>
          <p:nvGrpSpPr>
            <p:cNvPr id="287" name="קבוצה 286"/>
            <p:cNvGrpSpPr/>
            <p:nvPr/>
          </p:nvGrpSpPr>
          <p:grpSpPr>
            <a:xfrm>
              <a:off x="406704" y="2420786"/>
              <a:ext cx="6842298" cy="824621"/>
              <a:chOff x="398244" y="2420786"/>
              <a:chExt cx="6850758" cy="824621"/>
            </a:xfrm>
          </p:grpSpPr>
          <p:grpSp>
            <p:nvGrpSpPr>
              <p:cNvPr id="267" name="קבוצה 266"/>
              <p:cNvGrpSpPr/>
              <p:nvPr/>
            </p:nvGrpSpPr>
            <p:grpSpPr>
              <a:xfrm>
                <a:off x="398244" y="2420786"/>
                <a:ext cx="6850758" cy="824621"/>
                <a:chOff x="389777" y="2522390"/>
                <a:chExt cx="6850758" cy="824621"/>
              </a:xfrm>
            </p:grpSpPr>
            <p:sp>
              <p:nvSpPr>
                <p:cNvPr id="209" name="Rectangle 36"/>
                <p:cNvSpPr/>
                <p:nvPr/>
              </p:nvSpPr>
              <p:spPr>
                <a:xfrm flipH="1">
                  <a:off x="5680608" y="2785538"/>
                  <a:ext cx="1559927" cy="561473"/>
                </a:xfrm>
                <a:prstGeom prst="rect">
                  <a:avLst/>
                </a:prstGeom>
                <a:solidFill>
                  <a:srgbClr val="705E8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88188" rtlCol="0" anchor="ctr"/>
                <a:lstStyle/>
                <a:p>
                  <a:pPr marL="590617" indent="-590617" defTabSz="1889973">
                    <a:buFont typeface="Arial" panose="020B0604020202020204" pitchFamily="34" charset="0"/>
                    <a:buChar char="•"/>
                    <a:defRPr/>
                  </a:pPr>
                  <a:endParaRPr lang="en-US" sz="3720" kern="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10" name="Rectangle 51"/>
                <p:cNvSpPr/>
                <p:nvPr/>
              </p:nvSpPr>
              <p:spPr>
                <a:xfrm>
                  <a:off x="6382988" y="2777071"/>
                  <a:ext cx="843969" cy="568044"/>
                </a:xfrm>
                <a:prstGeom prst="rect">
                  <a:avLst/>
                </a:prstGeom>
                <a:solidFill>
                  <a:srgbClr val="5B4C6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889973">
                    <a:defRPr/>
                  </a:pPr>
                  <a:endParaRPr lang="en-US" sz="3720" kern="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11" name="Rectangle 60"/>
                <p:cNvSpPr/>
                <p:nvPr/>
              </p:nvSpPr>
              <p:spPr>
                <a:xfrm flipH="1">
                  <a:off x="389777" y="2522390"/>
                  <a:ext cx="5626112" cy="592195"/>
                </a:xfrm>
                <a:prstGeom prst="rect">
                  <a:avLst/>
                </a:prstGeom>
                <a:solidFill>
                  <a:srgbClr val="705E8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83750" tIns="78750" rIns="183750" bIns="78750" rtlCol="0" anchor="ctr"/>
                <a:lstStyle/>
                <a:p>
                  <a:pPr marL="266700" indent="-266700" algn="r" defTabSz="1889973" rtl="1">
                    <a:buFont typeface="Arial" panose="020B0604020202020204" pitchFamily="34" charset="0"/>
                    <a:buChar char="•"/>
                    <a:defRPr/>
                  </a:pPr>
                  <a:r>
                    <a:rPr lang="he-IL" sz="2800" b="1" dirty="0">
                      <a:ln>
                        <a:solidFill>
                          <a:srgbClr val="30124F"/>
                        </a:solidFill>
                      </a:ln>
                      <a:solidFill>
                        <a:srgbClr val="E0D7E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Calibri" panose="020F0502020204030204" pitchFamily="34" charset="0"/>
                      <a:cs typeface="Calibri" panose="020F0502020204030204" pitchFamily="34" charset="0"/>
                    </a:rPr>
                    <a:t>אינטראקציה עקבית במרחב </a:t>
                  </a:r>
                  <a:r>
                    <a:rPr lang="he-IL" sz="2800" b="1" dirty="0" err="1" smtClean="0">
                      <a:ln>
                        <a:solidFill>
                          <a:srgbClr val="30124F"/>
                        </a:solidFill>
                      </a:ln>
                      <a:solidFill>
                        <a:srgbClr val="E0D7E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Calibri" panose="020F0502020204030204" pitchFamily="34" charset="0"/>
                      <a:cs typeface="Calibri" panose="020F0502020204030204" pitchFamily="34" charset="0"/>
                    </a:rPr>
                    <a:t>הוירטואלי</a:t>
                  </a:r>
                  <a:endParaRPr lang="he-IL" sz="2800" b="1" dirty="0">
                    <a:ln>
                      <a:solidFill>
                        <a:srgbClr val="30124F"/>
                      </a:solidFill>
                    </a:ln>
                    <a:solidFill>
                      <a:srgbClr val="E0D7E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286" name="Freeform 61"/>
              <p:cNvSpPr/>
              <p:nvPr/>
            </p:nvSpPr>
            <p:spPr>
              <a:xfrm flipH="1">
                <a:off x="5685916" y="3017559"/>
                <a:ext cx="361804" cy="212413"/>
              </a:xfrm>
              <a:custGeom>
                <a:avLst/>
                <a:gdLst>
                  <a:gd name="connsiteX0" fmla="*/ 0 w 278296"/>
                  <a:gd name="connsiteY0" fmla="*/ 0 h 341906"/>
                  <a:gd name="connsiteX1" fmla="*/ 278296 w 278296"/>
                  <a:gd name="connsiteY1" fmla="*/ 341906 h 341906"/>
                  <a:gd name="connsiteX2" fmla="*/ 278296 w 278296"/>
                  <a:gd name="connsiteY2" fmla="*/ 7951 h 341906"/>
                  <a:gd name="connsiteX3" fmla="*/ 0 w 278296"/>
                  <a:gd name="connsiteY3" fmla="*/ 0 h 341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296" h="341906">
                    <a:moveTo>
                      <a:pt x="0" y="0"/>
                    </a:moveTo>
                    <a:lnTo>
                      <a:pt x="278296" y="341906"/>
                    </a:lnTo>
                    <a:lnTo>
                      <a:pt x="278296" y="79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B4C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889973">
                  <a:defRPr/>
                </a:pPr>
                <a:endParaRPr lang="en-US" sz="3720" kern="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305" name="קבוצה 304"/>
          <p:cNvGrpSpPr/>
          <p:nvPr/>
        </p:nvGrpSpPr>
        <p:grpSpPr>
          <a:xfrm>
            <a:off x="344008" y="3191558"/>
            <a:ext cx="6898500" cy="803798"/>
            <a:chOff x="344008" y="3191558"/>
            <a:chExt cx="6898500" cy="803798"/>
          </a:xfrm>
        </p:grpSpPr>
        <p:grpSp>
          <p:nvGrpSpPr>
            <p:cNvPr id="289" name="קבוצה 288"/>
            <p:cNvGrpSpPr/>
            <p:nvPr/>
          </p:nvGrpSpPr>
          <p:grpSpPr>
            <a:xfrm>
              <a:off x="389366" y="3196136"/>
              <a:ext cx="6853142" cy="799220"/>
              <a:chOff x="389366" y="3221537"/>
              <a:chExt cx="6853142" cy="799220"/>
            </a:xfrm>
          </p:grpSpPr>
          <p:grpSp>
            <p:nvGrpSpPr>
              <p:cNvPr id="268" name="קבוצה 267"/>
              <p:cNvGrpSpPr/>
              <p:nvPr/>
            </p:nvGrpSpPr>
            <p:grpSpPr>
              <a:xfrm>
                <a:off x="389366" y="3221537"/>
                <a:ext cx="6853142" cy="799220"/>
                <a:chOff x="380899" y="3306207"/>
                <a:chExt cx="6853142" cy="799220"/>
              </a:xfrm>
            </p:grpSpPr>
            <p:sp>
              <p:nvSpPr>
                <p:cNvPr id="217" name="Rectangle 36"/>
                <p:cNvSpPr/>
                <p:nvPr/>
              </p:nvSpPr>
              <p:spPr>
                <a:xfrm flipH="1">
                  <a:off x="5699559" y="3543954"/>
                  <a:ext cx="1534482" cy="561473"/>
                </a:xfrm>
                <a:prstGeom prst="rect">
                  <a:avLst/>
                </a:prstGeom>
                <a:solidFill>
                  <a:srgbClr val="495B8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88188" rtlCol="0" anchor="ctr"/>
                <a:lstStyle/>
                <a:p>
                  <a:pPr marL="590617" indent="-590617" defTabSz="1889973">
                    <a:buFont typeface="Arial" panose="020B0604020202020204" pitchFamily="34" charset="0"/>
                    <a:buChar char="•"/>
                    <a:defRPr/>
                  </a:pPr>
                  <a:endParaRPr lang="en-US" sz="3720" kern="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18" name="Rectangle 51"/>
                <p:cNvSpPr/>
                <p:nvPr/>
              </p:nvSpPr>
              <p:spPr>
                <a:xfrm>
                  <a:off x="6370904" y="3543954"/>
                  <a:ext cx="849471" cy="561473"/>
                </a:xfrm>
                <a:prstGeom prst="rect">
                  <a:avLst/>
                </a:prstGeom>
                <a:solidFill>
                  <a:srgbClr val="36436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889973">
                    <a:defRPr/>
                  </a:pPr>
                  <a:endParaRPr lang="en-US" sz="3720" kern="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19" name="Rectangle 60"/>
                <p:cNvSpPr/>
                <p:nvPr/>
              </p:nvSpPr>
              <p:spPr>
                <a:xfrm flipH="1">
                  <a:off x="380899" y="3306207"/>
                  <a:ext cx="5638390" cy="592195"/>
                </a:xfrm>
                <a:prstGeom prst="rect">
                  <a:avLst/>
                </a:prstGeom>
                <a:solidFill>
                  <a:srgbClr val="495B8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83750" tIns="78750" rIns="183750" bIns="78750" rtlCol="0" anchor="ctr"/>
                <a:lstStyle/>
                <a:p>
                  <a:pPr marL="266700" indent="-266700" algn="r" defTabSz="1889973" rtl="1">
                    <a:buFont typeface="Arial" panose="020B0604020202020204" pitchFamily="34" charset="0"/>
                    <a:buChar char="•"/>
                  </a:pPr>
                  <a:r>
                    <a:rPr lang="he-IL" sz="3200" b="1" dirty="0">
                      <a:ln>
                        <a:solidFill>
                          <a:srgbClr val="30124F"/>
                        </a:solidFill>
                      </a:ln>
                      <a:solidFill>
                        <a:srgbClr val="E0D7E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Calibri" panose="020F0502020204030204" pitchFamily="34" charset="0"/>
                      <a:cs typeface="Calibri" panose="020F0502020204030204" pitchFamily="34" charset="0"/>
                    </a:rPr>
                    <a:t>התאמת ועיצוב תכנים</a:t>
                  </a:r>
                </a:p>
              </p:txBody>
            </p:sp>
          </p:grpSp>
          <p:sp>
            <p:nvSpPr>
              <p:cNvPr id="288" name="Freeform 61"/>
              <p:cNvSpPr/>
              <p:nvPr/>
            </p:nvSpPr>
            <p:spPr>
              <a:xfrm flipH="1">
                <a:off x="5711310" y="3804954"/>
                <a:ext cx="361804" cy="212413"/>
              </a:xfrm>
              <a:custGeom>
                <a:avLst/>
                <a:gdLst>
                  <a:gd name="connsiteX0" fmla="*/ 0 w 278296"/>
                  <a:gd name="connsiteY0" fmla="*/ 0 h 341906"/>
                  <a:gd name="connsiteX1" fmla="*/ 278296 w 278296"/>
                  <a:gd name="connsiteY1" fmla="*/ 341906 h 341906"/>
                  <a:gd name="connsiteX2" fmla="*/ 278296 w 278296"/>
                  <a:gd name="connsiteY2" fmla="*/ 7951 h 341906"/>
                  <a:gd name="connsiteX3" fmla="*/ 0 w 278296"/>
                  <a:gd name="connsiteY3" fmla="*/ 0 h 341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296" h="341906">
                    <a:moveTo>
                      <a:pt x="0" y="0"/>
                    </a:moveTo>
                    <a:lnTo>
                      <a:pt x="278296" y="341906"/>
                    </a:lnTo>
                    <a:lnTo>
                      <a:pt x="278296" y="79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6436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889973">
                  <a:defRPr/>
                </a:pPr>
                <a:endParaRPr lang="en-US" sz="3720" kern="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9" name="מלבן מעוגל 298"/>
            <p:cNvSpPr/>
            <p:nvPr/>
          </p:nvSpPr>
          <p:spPr>
            <a:xfrm>
              <a:off x="344008" y="3191558"/>
              <a:ext cx="770158" cy="596619"/>
            </a:xfrm>
            <a:prstGeom prst="roundRect">
              <a:avLst/>
            </a:prstGeom>
            <a:solidFill>
              <a:srgbClr val="495B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pic>
        <p:nvPicPr>
          <p:cNvPr id="3" name="תמונה 2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31782" y="2707481"/>
            <a:ext cx="461030" cy="521493"/>
          </a:xfrm>
          <a:prstGeom prst="rect">
            <a:avLst/>
          </a:prstGeom>
        </p:spPr>
      </p:pic>
      <p:pic>
        <p:nvPicPr>
          <p:cNvPr id="5" name="תמונה 4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22244" y="4260396"/>
            <a:ext cx="421481" cy="461622"/>
          </a:xfrm>
          <a:prstGeom prst="rect">
            <a:avLst/>
          </a:prstGeom>
        </p:spPr>
      </p:pic>
      <p:pic>
        <p:nvPicPr>
          <p:cNvPr id="7" name="תמונה 6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24637" y="3468933"/>
            <a:ext cx="469107" cy="476797"/>
          </a:xfrm>
          <a:prstGeom prst="rect">
            <a:avLst/>
          </a:prstGeom>
        </p:spPr>
      </p:pic>
      <p:pic>
        <p:nvPicPr>
          <p:cNvPr id="8" name="תמונה 7"/>
          <p:cNvPicPr>
            <a:picLocks noChangeAspect="1"/>
          </p:cNvPicPr>
          <p:nvPr/>
        </p:nvPicPr>
        <p:blipFill>
          <a:blip r:embed="rId9">
            <a:biLevel thresh="5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8800" l="9896" r="97917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631866" y="1948552"/>
            <a:ext cx="388504" cy="505865"/>
          </a:xfrm>
          <a:prstGeom prst="rect">
            <a:avLst/>
          </a:prstGeom>
        </p:spPr>
      </p:pic>
      <p:pic>
        <p:nvPicPr>
          <p:cNvPr id="9" name="תמונה 8"/>
          <p:cNvPicPr>
            <a:picLocks noChangeAspect="1"/>
          </p:cNvPicPr>
          <p:nvPr/>
        </p:nvPicPr>
        <p:blipFill rotWithShape="1">
          <a:blip r:embed="rId11">
            <a:biLevel thresh="75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527" b="89822" l="0" r="100000"/>
                    </a14:imgEffect>
                  </a14:imgLayer>
                </a14:imgProps>
              </a:ext>
            </a:extLst>
          </a:blip>
          <a:srcRect r="34063" b="51953"/>
          <a:stretch/>
        </p:blipFill>
        <p:spPr>
          <a:xfrm>
            <a:off x="6437583" y="1173056"/>
            <a:ext cx="697267" cy="445225"/>
          </a:xfrm>
          <a:prstGeom prst="rect">
            <a:avLst/>
          </a:prstGeom>
        </p:spPr>
      </p:pic>
      <p:grpSp>
        <p:nvGrpSpPr>
          <p:cNvPr id="13" name="קבוצה 12"/>
          <p:cNvGrpSpPr/>
          <p:nvPr/>
        </p:nvGrpSpPr>
        <p:grpSpPr>
          <a:xfrm>
            <a:off x="6633837" y="540651"/>
            <a:ext cx="458975" cy="454248"/>
            <a:chOff x="5978896" y="146370"/>
            <a:chExt cx="1021175" cy="941453"/>
          </a:xfrm>
        </p:grpSpPr>
        <p:pic>
          <p:nvPicPr>
            <p:cNvPr id="11" name="תמונה 10"/>
            <p:cNvPicPr>
              <a:picLocks noChangeAspect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ackgroundRemoval t="5960" b="94702" l="9884" r="98256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978896" y="191327"/>
              <a:ext cx="1021175" cy="896496"/>
            </a:xfrm>
            <a:prstGeom prst="rect">
              <a:avLst/>
            </a:prstGeom>
          </p:spPr>
        </p:pic>
        <p:pic>
          <p:nvPicPr>
            <p:cNvPr id="134" name="תמונה 133"/>
            <p:cNvPicPr>
              <a:picLocks noChangeAspect="1"/>
            </p:cNvPicPr>
            <p:nvPr/>
          </p:nvPicPr>
          <p:blipFill rotWithShape="1">
            <a:blip r:embed="rId15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ackgroundRemoval t="0" b="88793" l="0" r="96018">
                          <a14:foregroundMark x1="18584" y1="21552" x2="18584" y2="21552"/>
                          <a14:foregroundMark x1="52655" y1="17672" x2="84513" y2="18103"/>
                          <a14:foregroundMark x1="61504" y1="34483" x2="61504" y2="38362"/>
                          <a14:foregroundMark x1="52655" y1="45690" x2="50885" y2="42672"/>
                          <a14:foregroundMark x1="68584" y1="45259" x2="68584" y2="45259"/>
                          <a14:foregroundMark x1="78319" y1="42241" x2="78319" y2="42241"/>
                        </a14:backgroundRemoval>
                      </a14:imgEffect>
                    </a14:imgLayer>
                  </a14:imgProps>
                </a:ext>
              </a:extLst>
            </a:blip>
            <a:srcRect l="1" t="14521" r="71875" b="69185"/>
            <a:stretch/>
          </p:blipFill>
          <p:spPr>
            <a:xfrm>
              <a:off x="5995073" y="146370"/>
              <a:ext cx="329823" cy="235635"/>
            </a:xfrm>
            <a:prstGeom prst="rect">
              <a:avLst/>
            </a:prstGeom>
          </p:spPr>
        </p:pic>
        <p:pic>
          <p:nvPicPr>
            <p:cNvPr id="137" name="תמונה 136"/>
            <p:cNvPicPr>
              <a:picLocks noChangeAspect="1"/>
            </p:cNvPicPr>
            <p:nvPr/>
          </p:nvPicPr>
          <p:blipFill rotWithShape="1">
            <a:blip r:embed="rId15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ackgroundRemoval t="0" b="88793" l="0" r="96018">
                          <a14:foregroundMark x1="18584" y1="21552" x2="18584" y2="21552"/>
                          <a14:foregroundMark x1="52655" y1="17672" x2="84513" y2="18103"/>
                          <a14:foregroundMark x1="61504" y1="34483" x2="61504" y2="38362"/>
                          <a14:foregroundMark x1="52655" y1="45690" x2="50885" y2="42672"/>
                          <a14:foregroundMark x1="68584" y1="45259" x2="68584" y2="45259"/>
                          <a14:foregroundMark x1="78319" y1="42241" x2="78319" y2="42241"/>
                        </a14:backgroundRemoval>
                      </a14:imgEffect>
                    </a14:imgLayer>
                  </a14:imgProps>
                </a:ext>
              </a:extLst>
            </a:blip>
            <a:srcRect l="1" t="14521" r="71875" b="69185"/>
            <a:stretch/>
          </p:blipFill>
          <p:spPr>
            <a:xfrm>
              <a:off x="6562154" y="149908"/>
              <a:ext cx="329823" cy="2356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5029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3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3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3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3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mput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mput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mputer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44</TotalTime>
  <Words>232</Words>
  <Application>Microsoft Office PowerPoint</Application>
  <PresentationFormat>‫הצגה על המסך (16:9)</PresentationFormat>
  <Paragraphs>134</Paragraphs>
  <Slides>11</Slides>
  <Notes>11</Notes>
  <HiddenSlides>0</HiddenSlides>
  <MMClips>0</MMClips>
  <ScaleCrop>false</ScaleCrop>
  <HeadingPairs>
    <vt:vector size="6" baseType="variant">
      <vt:variant>
        <vt:lpstr>גופנים בשימוש</vt:lpstr>
      </vt:variant>
      <vt:variant>
        <vt:i4>6</vt:i4>
      </vt:variant>
      <vt:variant>
        <vt:lpstr>ערכת נושא</vt:lpstr>
      </vt:variant>
      <vt:variant>
        <vt:i4>1</vt:i4>
      </vt:variant>
      <vt:variant>
        <vt:lpstr>כותרות שקופיות</vt:lpstr>
      </vt:variant>
      <vt:variant>
        <vt:i4>11</vt:i4>
      </vt:variant>
    </vt:vector>
  </HeadingPairs>
  <TitlesOfParts>
    <vt:vector size="18" baseType="lpstr">
      <vt:lpstr>Microsoft YaHei UI Light</vt:lpstr>
      <vt:lpstr>Arial</vt:lpstr>
      <vt:lpstr>Bradley Hand ITC</vt:lpstr>
      <vt:lpstr>Calibri</vt:lpstr>
      <vt:lpstr>Comix No2 CLM</vt:lpstr>
      <vt:lpstr>David</vt:lpstr>
      <vt:lpstr>Simple Light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מצגת של PowerPoint‏</dc:title>
  <dc:creator>Yael Batt</dc:creator>
  <cp:lastModifiedBy>Yael Batt</cp:lastModifiedBy>
  <cp:revision>293</cp:revision>
  <dcterms:modified xsi:type="dcterms:W3CDTF">2018-06-25T18:53:26Z</dcterms:modified>
</cp:coreProperties>
</file>